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2.xml" ContentType="application/vnd.openxmlformats-officedocument.presentationml.tags+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tags/tag6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ags/tag66.xml" ContentType="application/vnd.openxmlformats-officedocument.presentationml.tags+xml"/>
  <Override PartName="/ppt/notesSlides/notesSlide1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1.xml" ContentType="application/vnd.openxmlformats-officedocument.presentationml.notesSlide+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2.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8"/>
  </p:notesMasterIdLst>
  <p:handoutMasterIdLst>
    <p:handoutMasterId r:id="rId19"/>
  </p:handoutMasterIdLst>
  <p:sldIdLst>
    <p:sldId id="256" r:id="rId2"/>
    <p:sldId id="261" r:id="rId3"/>
    <p:sldId id="263" r:id="rId4"/>
    <p:sldId id="277" r:id="rId5"/>
    <p:sldId id="274" r:id="rId6"/>
    <p:sldId id="278" r:id="rId7"/>
    <p:sldId id="266" r:id="rId8"/>
    <p:sldId id="258" r:id="rId9"/>
    <p:sldId id="275" r:id="rId10"/>
    <p:sldId id="264" r:id="rId11"/>
    <p:sldId id="259" r:id="rId12"/>
    <p:sldId id="276" r:id="rId13"/>
    <p:sldId id="265" r:id="rId14"/>
    <p:sldId id="271" r:id="rId15"/>
    <p:sldId id="273" r:id="rId16"/>
    <p:sldId id="267" r:id="rId17"/>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4">
          <p15:clr>
            <a:srgbClr val="A4A3A4"/>
          </p15:clr>
        </p15:guide>
        <p15:guide id="2" pos="392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CDCDC"/>
    <a:srgbClr val="F0F0F0"/>
    <a:srgbClr val="E6E6E6"/>
    <a:srgbClr val="C8C8C8"/>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78" autoAdjust="0"/>
    <p:restoredTop sz="94660"/>
  </p:normalViewPr>
  <p:slideViewPr>
    <p:cSldViewPr snapToGrid="0">
      <p:cViewPr varScale="1">
        <p:scale>
          <a:sx n="115" d="100"/>
          <a:sy n="115" d="100"/>
        </p:scale>
        <p:origin x="498" y="102"/>
      </p:cViewPr>
      <p:guideLst>
        <p:guide orient="horz" pos="2254"/>
        <p:guide pos="3923"/>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销售额</c:v>
                </c:pt>
              </c:strCache>
            </c:strRef>
          </c:tx>
          <c:spPr>
            <a:solidFill>
              <a:schemeClr val="bg1"/>
            </a:solidFill>
            <a:ln>
              <a:noFill/>
            </a:ln>
          </c:spPr>
          <c:dPt>
            <c:idx val="0"/>
            <c:bubble3D val="0"/>
            <c:explosion val="12"/>
            <c:spPr>
              <a:solidFill>
                <a:schemeClr val="accent1"/>
              </a:solidFill>
              <a:ln w="19050">
                <a:noFill/>
              </a:ln>
              <a:effectLst/>
            </c:spPr>
            <c:extLst>
              <c:ext xmlns:c16="http://schemas.microsoft.com/office/drawing/2014/chart" uri="{C3380CC4-5D6E-409C-BE32-E72D297353CC}">
                <c16:uniqueId val="{00000001-F201-425A-80B9-1D6DA21A9534}"/>
              </c:ext>
            </c:extLst>
          </c:dPt>
          <c:dPt>
            <c:idx val="1"/>
            <c:bubble3D val="0"/>
            <c:explosion val="9"/>
            <c:spPr>
              <a:solidFill>
                <a:schemeClr val="accent2"/>
              </a:solidFill>
              <a:ln w="19050">
                <a:noFill/>
              </a:ln>
              <a:effectLst/>
            </c:spPr>
            <c:extLst>
              <c:ext xmlns:c16="http://schemas.microsoft.com/office/drawing/2014/chart" uri="{C3380CC4-5D6E-409C-BE32-E72D297353CC}">
                <c16:uniqueId val="{00000003-F201-425A-80B9-1D6DA21A9534}"/>
              </c:ext>
            </c:extLst>
          </c:dPt>
          <c:dPt>
            <c:idx val="2"/>
            <c:bubble3D val="0"/>
            <c:explosion val="19"/>
            <c:spPr>
              <a:solidFill>
                <a:schemeClr val="bg1"/>
              </a:solidFill>
              <a:ln w="19050">
                <a:noFill/>
              </a:ln>
              <a:effectLst/>
            </c:spPr>
            <c:extLst>
              <c:ext xmlns:c16="http://schemas.microsoft.com/office/drawing/2014/chart" uri="{C3380CC4-5D6E-409C-BE32-E72D297353CC}">
                <c16:uniqueId val="{00000005-F201-425A-80B9-1D6DA21A9534}"/>
              </c:ext>
            </c:extLst>
          </c:dPt>
          <c:dPt>
            <c:idx val="3"/>
            <c:bubble3D val="0"/>
            <c:spPr>
              <a:solidFill>
                <a:schemeClr val="accent2"/>
              </a:solidFill>
              <a:ln w="19050">
                <a:noFill/>
              </a:ln>
              <a:effectLst/>
            </c:spPr>
            <c:extLst>
              <c:ext xmlns:c16="http://schemas.microsoft.com/office/drawing/2014/chart" uri="{C3380CC4-5D6E-409C-BE32-E72D297353CC}">
                <c16:uniqueId val="{00000007-F201-425A-80B9-1D6DA21A9534}"/>
              </c:ext>
            </c:extLst>
          </c:dPt>
          <c:dLbls>
            <c:dLbl>
              <c:idx val="0"/>
              <c:layout>
                <c:manualLayout>
                  <c:x val="-0.108185331000292"/>
                  <c:y val="-0.28618718757147099"/>
                </c:manualLayout>
              </c:layout>
              <c:tx>
                <c:rich>
                  <a:bodyPr/>
                  <a:lstStyle/>
                  <a:p>
                    <a:r>
                      <a:rPr lang="en-US"/>
                      <a:t>5%</a:t>
                    </a:r>
                  </a:p>
                </c:rich>
              </c:tx>
              <c:dLblPos val="bestFit"/>
              <c:showLegendKey val="0"/>
              <c:showVal val="0"/>
              <c:showCatName val="0"/>
              <c:showSerName val="0"/>
              <c:showPercent val="1"/>
              <c:showBubbleSize val="0"/>
              <c:extLst>
                <c:ext xmlns:c15="http://schemas.microsoft.com/office/drawing/2012/chart" uri="{CE6537A1-D6FC-4f65-9D91-7224C49458BB}">
                  <c15:layout>
                    <c:manualLayout>
                      <c:w val="0.30837962962963"/>
                      <c:h val="0.38031639004149398"/>
                    </c:manualLayout>
                  </c15:layout>
                  <c15:showDataLabelsRange val="0"/>
                </c:ext>
                <c:ext xmlns:c16="http://schemas.microsoft.com/office/drawing/2014/chart" uri="{C3380CC4-5D6E-409C-BE32-E72D297353CC}">
                  <c16:uniqueId val="{00000001-F201-425A-80B9-1D6DA21A9534}"/>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Source Han Sans HW SC" panose="020F0502020204030204"/>
                    <a:ea typeface="庞门正道标题体" panose="02010600030101010101" pitchFamily="2" charset="-122"/>
                    <a:cs typeface="+mn-cs"/>
                    <a:sym typeface="Source Han Sans HW SC" panose="020F0502020204030204"/>
                  </a:defRPr>
                </a:pPr>
                <a:endParaRPr lang="zh-CN"/>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prstDash val="solid"/>
                  <a:round/>
                </a:ln>
                <a:effectLst/>
              </c:spPr>
            </c:leaderLines>
            <c:extLst>
              <c:ext xmlns:c15="http://schemas.microsoft.com/office/drawing/2012/chart" uri="{CE6537A1-D6FC-4f65-9D91-7224C49458BB}"/>
            </c:extLst>
          </c:dLbls>
          <c:cat>
            <c:strRef>
              <c:f>Sheet1!$A$2:$A$5</c:f>
              <c:strCache>
                <c:ptCount val="4"/>
                <c:pt idx="0">
                  <c:v>第一季度</c:v>
                </c:pt>
                <c:pt idx="1">
                  <c:v>第二季度</c:v>
                </c:pt>
                <c:pt idx="2">
                  <c:v>第三季度</c:v>
                </c:pt>
                <c:pt idx="3">
                  <c:v>第四季度</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F201-425A-80B9-1D6DA21A953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lang="zh-CN">
          <a:latin typeface="Source Han Sans HW SC" panose="020F0502020204030204"/>
          <a:ea typeface="庞门正道标题体" panose="02010600030101010101" pitchFamily="2" charset="-122"/>
          <a:sym typeface="Source Han Sans HW SC" panose="020F0502020204030204"/>
        </a:defRPr>
      </a:pPr>
      <a:endParaRPr lang="zh-CN"/>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微软雅黑" panose="020B0503020204020204" charset="-122"/>
              <a:ea typeface="微软雅黑" panose="020B050302020402020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微软雅黑" panose="020B0503020204020204" charset="-122"/>
                <a:ea typeface="微软雅黑" panose="020B0503020204020204" charset="-122"/>
              </a:rPr>
              <a:t>2021/1/5</a:t>
            </a:fld>
            <a:endParaRPr lang="zh-CN" altLang="en-US">
              <a:latin typeface="微软雅黑" panose="020B0503020204020204" charset="-122"/>
              <a:ea typeface="微软雅黑" panose="020B050302020402020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微软雅黑" panose="020B0503020204020204" charset="-122"/>
              <a:ea typeface="微软雅黑" panose="020B050302020402020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微软雅黑" panose="020B0503020204020204" charset="-122"/>
                <a:ea typeface="微软雅黑" panose="020B0503020204020204" charset="-122"/>
              </a:rPr>
              <a:t>‹#›</a:t>
            </a:fld>
            <a:endParaRPr lang="zh-CN" altLang="en-US">
              <a:latin typeface="微软雅黑" panose="020B0503020204020204" charset="-122"/>
              <a:ea typeface="微软雅黑" panose="020B0503020204020204" charset="-122"/>
            </a:endParaRP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charset="-122"/>
                <a:ea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charset="-122"/>
                <a:ea typeface="微软雅黑" panose="020B0503020204020204" charset="-122"/>
              </a:defRPr>
            </a:lvl1pPr>
          </a:lstStyle>
          <a:p>
            <a:fld id="{1AC49D05-6128-4D0D-A32A-06A5E73B386C}"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charset="-122"/>
                <a:ea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charset="-122"/>
                <a:ea typeface="微软雅黑" panose="020B0503020204020204" charset="-122"/>
              </a:defRPr>
            </a:lvl1pPr>
          </a:lstStyle>
          <a:p>
            <a:fld id="{5849F42C-2DAE-424C-A4B8-3140182C3E9F}"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微软雅黑" panose="020B0503020204020204" charset="-122"/>
        <a:ea typeface="微软雅黑" panose="020B0503020204020204" charset="-122"/>
        <a:cs typeface="+mn-cs"/>
      </a:defRPr>
    </a:lvl1pPr>
    <a:lvl2pPr marL="4572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2pPr>
    <a:lvl3pPr marL="9144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3pPr>
    <a:lvl4pPr marL="13716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4pPr>
    <a:lvl5pPr marL="18288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256156D-592E-4B4D-8772-D689FB057AF4}"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34C0232-94FA-4EBE-BB9B-79FBE486032D}"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B9E7CBE-91A3-4CAA-B3AC-4980673AC991}"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8ED1658-4FBC-434E-ABF7-CFC3546CF580}"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16</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2</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34EAE80-1E1C-4128-8A7A-42B5BA7115A1}"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7AE404-C66A-4A71-A9AC-1167CE038DAE}"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2CAF7D-9C39-4536-A2F8-6A4CCB169E4D}"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559603ED-F156-43BE-989A-FC8BF178531B}"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8ED1658-4FBC-434E-ABF7-CFC3546CF580}"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slideMaster" Target="../slideMasters/slideMaster1.xml"/><Relationship Id="rId4"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slideMaster" Target="../slideMasters/slideMaster1.xml"/><Relationship Id="rId4" Type="http://schemas.openxmlformats.org/officeDocument/2006/relationships/tags" Target="../tags/tag6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Master" Target="../slideMasters/slideMaster1.xml"/><Relationship Id="rId5" Type="http://schemas.openxmlformats.org/officeDocument/2006/relationships/tags" Target="../tags/tag16.xml"/><Relationship Id="rId4" Type="http://schemas.openxmlformats.org/officeDocument/2006/relationships/tags" Target="../tags/tag1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Master" Target="../slideMasters/slideMaster1.xml"/><Relationship Id="rId5" Type="http://schemas.openxmlformats.org/officeDocument/2006/relationships/tags" Target="../tags/tag21.xml"/><Relationship Id="rId4" Type="http://schemas.openxmlformats.org/officeDocument/2006/relationships/tags" Target="../tags/tag20.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slideMaster" Target="../slideMasters/slideMaster1.xml"/><Relationship Id="rId4" Type="http://schemas.openxmlformats.org/officeDocument/2006/relationships/tags" Target="../tags/tag39.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slideMaster" Target="../slideMasters/slideMaster1.xml"/><Relationship Id="rId5" Type="http://schemas.openxmlformats.org/officeDocument/2006/relationships/tags" Target="../tags/tag53.xml"/><Relationship Id="rId4" Type="http://schemas.openxmlformats.org/officeDocument/2006/relationships/tags" Target="../tags/tag5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1"/>
            </p:custDataLst>
          </p:nvPr>
        </p:nvSpPr>
        <p:spPr>
          <a:xfrm>
            <a:off x="669882" y="2588281"/>
            <a:ext cx="10852237" cy="899167"/>
          </a:xfrm>
        </p:spPr>
        <p:txBody>
          <a:bodyPr lIns="101600" tIns="38100" rIns="25400" bIns="38100" anchor="t" anchorCtr="0">
            <a:noAutofit/>
          </a:bodyPr>
          <a:lstStyle>
            <a:lvl1pPr algn="ctr">
              <a:defRPr sz="5400" b="0" spc="600">
                <a:effectLst>
                  <a:outerShdw blurRad="38100" dist="38100" dir="2700000" algn="tl">
                    <a:srgbClr val="000000">
                      <a:alpha val="43137"/>
                    </a:srgbClr>
                  </a:outerShdw>
                </a:effectLst>
              </a:defRPr>
            </a:lvl1pPr>
          </a:lstStyle>
          <a:p>
            <a:r>
              <a:rPr lang="zh-CN" altLang="en-US" dirty="0"/>
              <a:t>单击此处编辑标题</a:t>
            </a:r>
          </a:p>
        </p:txBody>
      </p:sp>
      <p:sp>
        <p:nvSpPr>
          <p:cNvPr id="3" name="副标题 2"/>
          <p:cNvSpPr>
            <a:spLocks noGrp="1"/>
          </p:cNvSpPr>
          <p:nvPr>
            <p:ph type="subTitle" idx="1" hasCustomPrompt="1"/>
            <p:custDataLst>
              <p:tags r:id="rId2"/>
            </p:custDataLst>
          </p:nvPr>
        </p:nvSpPr>
        <p:spPr>
          <a:xfrm>
            <a:off x="669882" y="3566160"/>
            <a:ext cx="10852237" cy="950984"/>
          </a:xfrm>
        </p:spPr>
        <p:txBody>
          <a:bodyPr lIns="101600" tIns="38100" rIns="76200" bIns="38100">
            <a:noAutofit/>
          </a:bodyPr>
          <a:lstStyle>
            <a:lvl1pPr marL="0" indent="0" algn="ctr" eaLnBrk="1" fontAlgn="auto" latinLnBrk="0" hangingPunct="1">
              <a:lnSpc>
                <a:spcPct val="100000"/>
              </a:lnSpc>
              <a:buNone/>
              <a:defRPr sz="2400" u="none" strike="noStrike" kern="1200" cap="none" spc="200" normalizeH="0" baseline="0">
                <a:solidFill>
                  <a:schemeClr val="tx1"/>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2021/1/5</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dirty="0"/>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2021/1/5</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
        <p:nvSpPr>
          <p:cNvPr id="7" name="内容占位符 6"/>
          <p:cNvSpPr>
            <a:spLocks noGrp="1"/>
          </p:cNvSpPr>
          <p:nvPr>
            <p:ph sz="quarter" idx="13"/>
            <p:custDataLst>
              <p:tags r:id="rId4"/>
            </p:custDataLst>
          </p:nvPr>
        </p:nvSpPr>
        <p:spPr>
          <a:xfrm>
            <a:off x="669930" y="952508"/>
            <a:ext cx="10852237" cy="5040000"/>
          </a:xfrm>
        </p:spPr>
        <p:txBody>
          <a:bodyPr/>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2021/1/5</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
        <p:nvSpPr>
          <p:cNvPr id="2" name="标题 1"/>
          <p:cNvSpPr>
            <a:spLocks noGrp="1"/>
          </p:cNvSpPr>
          <p:nvPr>
            <p:ph type="title" hasCustomPrompt="1"/>
            <p:custDataLst>
              <p:tags r:id="rId4"/>
            </p:custDataLst>
          </p:nvPr>
        </p:nvSpPr>
        <p:spPr>
          <a:xfrm>
            <a:off x="669882" y="2588281"/>
            <a:ext cx="10852237" cy="899167"/>
          </a:xfrm>
        </p:spPr>
        <p:txBody>
          <a:bodyPr vert="horz" lIns="101600" tIns="38100" rIns="25400" bIns="38100" rtlCol="0" anchor="t" anchorCtr="0">
            <a:noAutofit/>
          </a:bodyPr>
          <a:lstStyle>
            <a:lvl1pPr marL="0" marR="0" algn="ctr" defTabSz="914400" rtl="0" eaLnBrk="1" fontAlgn="auto" latinLnBrk="0" hangingPunct="1">
              <a:lnSpc>
                <a:spcPct val="100000"/>
              </a:lnSpc>
              <a:buNone/>
              <a:defRPr kumimoji="0" lang="zh-CN" altLang="en-US" sz="5400" b="0" i="0" u="none" strike="noStrike" kern="1200" cap="none" spc="600" normalizeH="0" baseline="0" noProof="1" dirty="0">
                <a:solidFill>
                  <a:schemeClr val="tx1"/>
                </a:solidFill>
                <a:effectLst>
                  <a:outerShdw blurRad="38100" dist="38100" dir="2700000" algn="tl">
                    <a:srgbClr val="000000">
                      <a:alpha val="43137"/>
                    </a:srgbClr>
                  </a:outerShdw>
                </a:effectLst>
                <a:uFillTx/>
                <a:latin typeface="+mj-lt"/>
                <a:ea typeface="+mj-ea"/>
                <a:cs typeface="+mj-cs"/>
                <a:sym typeface="+mn-ea"/>
              </a:defRPr>
            </a:lvl1pPr>
          </a:lstStyle>
          <a:p>
            <a:pPr lvl="0"/>
            <a:r>
              <a:rPr>
                <a:sym typeface="+mn-ea"/>
              </a:rPr>
              <a:t>单击此处编辑标题</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32000"/>
            <a:ext cx="10852237" cy="648000"/>
          </a:xfrm>
        </p:spPr>
        <p:txBody>
          <a:bodyPr vert="horz" lIns="101600" tIns="38100" rIns="76200" bIns="38100" rtlCol="0" anchor="ctr" anchorCtr="0">
            <a:noAutofit/>
          </a:bodyPr>
          <a:lstStyle>
            <a:lvl1pPr marL="0" marR="0" algn="l" defTabSz="914400" rtl="0" eaLnBrk="1" fontAlgn="auto" latinLnBrk="0" hangingPunct="1">
              <a:lnSpc>
                <a:spcPct val="100000"/>
              </a:lnSpc>
              <a:buNone/>
              <a:defRPr kumimoji="0" lang="zh-CN" altLang="en-US" sz="2800" b="1" i="0" u="none" strike="noStrike" kern="1200" cap="none" spc="200" normalizeH="0" baseline="0" noProof="1" dirty="0">
                <a:solidFill>
                  <a:schemeClr val="tx1"/>
                </a:solidFill>
                <a:uFillTx/>
                <a:latin typeface="+mj-lt"/>
                <a:ea typeface="+mj-ea"/>
                <a:cs typeface="+mj-cs"/>
                <a:sym typeface="+mn-ea"/>
              </a:defRPr>
            </a:lvl1pPr>
          </a:lstStyle>
          <a:p>
            <a:pPr lvl="0"/>
            <a:r>
              <a:rPr dirty="0">
                <a:sym typeface="+mn-ea"/>
              </a:rPr>
              <a:t>单击此处编辑母版标题样式</a:t>
            </a:r>
          </a:p>
        </p:txBody>
      </p:sp>
      <p:sp>
        <p:nvSpPr>
          <p:cNvPr id="3" name="内容占位符 2"/>
          <p:cNvSpPr>
            <a:spLocks noGrp="1"/>
          </p:cNvSpPr>
          <p:nvPr>
            <p:ph idx="1"/>
            <p:custDataLst>
              <p:tags r:id="rId2"/>
            </p:custDataLst>
          </p:nvPr>
        </p:nvSpPr>
        <p:spPr>
          <a:xfrm>
            <a:off x="669882" y="1296000"/>
            <a:ext cx="10852237" cy="5041355"/>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2021/1/5</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930" y="3808730"/>
            <a:ext cx="10852237" cy="624845"/>
          </a:xfrm>
        </p:spPr>
        <p:txBody>
          <a:bodyPr lIns="101600" tIns="38100" rIns="63500" bIns="38100" anchor="t" anchorCtr="0">
            <a:noAutofit/>
          </a:bodyPr>
          <a:lstStyle>
            <a:lvl1pPr>
              <a:defRPr sz="3600" b="0" u="none" strike="noStrike" kern="1200" cap="none" spc="300" normalizeH="0">
                <a:solidFill>
                  <a:schemeClr val="tx1"/>
                </a:solidFill>
                <a:effectLst>
                  <a:outerShdw blurRad="38100" dist="38100" dir="2700000" algn="tl">
                    <a:srgbClr val="000000">
                      <a:alpha val="43137"/>
                    </a:srgbClr>
                  </a:outerShdw>
                </a:effectLst>
                <a:uFillTx/>
              </a:defRPr>
            </a:lvl1pPr>
          </a:lstStyle>
          <a:p>
            <a:r>
              <a:rPr lang="zh-CN" altLang="en-US" dirty="0"/>
              <a:t>单击此处编辑母版标题样式</a:t>
            </a:r>
          </a:p>
        </p:txBody>
      </p:sp>
      <p:sp>
        <p:nvSpPr>
          <p:cNvPr id="3" name="文本占位符 2"/>
          <p:cNvSpPr>
            <a:spLocks noGrp="1"/>
          </p:cNvSpPr>
          <p:nvPr>
            <p:ph type="body" idx="1"/>
            <p:custDataLst>
              <p:tags r:id="rId2"/>
            </p:custDataLst>
          </p:nvPr>
        </p:nvSpPr>
        <p:spPr>
          <a:xfrm>
            <a:off x="669925" y="4511675"/>
            <a:ext cx="10852237" cy="1077985"/>
          </a:xfrm>
        </p:spPr>
        <p:txBody>
          <a:bodyPr lIns="101600" tIns="38100" rIns="76200" bIns="38100">
            <a:noAutofit/>
          </a:bodyPr>
          <a:lstStyle>
            <a:lvl1pPr marL="0" indent="0" eaLnBrk="1" fontAlgn="auto" latinLnBrk="0" hangingPunct="1">
              <a:buNone/>
              <a:defRPr kumimoji="0" lang="zh-CN" altLang="en-US" sz="1600" b="0" i="0" u="none" strike="noStrike" kern="1200" cap="none" spc="150" normalizeH="0" baseline="0" noProof="1">
                <a:solidFill>
                  <a:schemeClr val="tx1"/>
                </a:solidFill>
                <a:uFillTx/>
                <a:latin typeface="+mn-lt"/>
                <a:ea typeface="+mn-ea"/>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2021/1/5</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32000"/>
            <a:ext cx="10852237" cy="648000"/>
          </a:xfrm>
        </p:spPr>
        <p:txBody>
          <a:bodyPr vert="horz" lIns="101600" tIns="38100" rIns="76200" bIns="38100" rtlCol="0" anchor="ctr" anchorCtr="0">
            <a:noAutofit/>
          </a:bodyPr>
          <a:lstStyle>
            <a:lvl1pPr marL="0" marR="0" lvl="0" algn="l" defTabSz="914400" rtl="0" eaLnBrk="1" fontAlgn="auto" latinLnBrk="0" hangingPunct="1">
              <a:lnSpc>
                <a:spcPct val="100000"/>
              </a:lnSpc>
              <a:buNone/>
              <a:defRPr kumimoji="0" lang="zh-CN" altLang="en-US" sz="2800" b="1" i="0" u="none" strike="noStrike" kern="1200" cap="none" spc="200" normalizeH="0" baseline="0" noProof="1" dirty="0">
                <a:solidFill>
                  <a:schemeClr val="tx1"/>
                </a:solidFill>
                <a:uFillTx/>
                <a:latin typeface="+mj-lt"/>
                <a:ea typeface="+mj-ea"/>
                <a:cs typeface="+mj-cs"/>
                <a:sym typeface="+mn-ea"/>
              </a:defRPr>
            </a:lvl1pPr>
          </a:lstStyle>
          <a:p>
            <a:pPr lvl="0"/>
            <a:r>
              <a:rPr dirty="0">
                <a:sym typeface="+mn-ea"/>
              </a:rPr>
              <a:t>单击此处编辑母版标题样式</a:t>
            </a:r>
          </a:p>
        </p:txBody>
      </p:sp>
      <p:sp>
        <p:nvSpPr>
          <p:cNvPr id="3" name="内容占位符 2"/>
          <p:cNvSpPr>
            <a:spLocks noGrp="1"/>
          </p:cNvSpPr>
          <p:nvPr>
            <p:ph sz="half" idx="1"/>
            <p:custDataLst>
              <p:tags r:id="rId2"/>
            </p:custDataLst>
          </p:nvPr>
        </p:nvSpPr>
        <p:spPr>
          <a:xfrm>
            <a:off x="669930" y="1296000"/>
            <a:ext cx="5283242" cy="5040000"/>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4" name="内容占位符 3"/>
          <p:cNvSpPr>
            <a:spLocks noGrp="1"/>
          </p:cNvSpPr>
          <p:nvPr>
            <p:ph sz="half" idx="2"/>
            <p:custDataLst>
              <p:tags r:id="rId3"/>
            </p:custDataLst>
          </p:nvPr>
        </p:nvSpPr>
        <p:spPr>
          <a:xfrm>
            <a:off x="6238877" y="1296000"/>
            <a:ext cx="5283242" cy="5040000"/>
          </a:xfrm>
        </p:spPr>
        <p:txBody>
          <a:bodyPr>
            <a:noAutofit/>
          </a:bodyPr>
          <a:lstStyle>
            <a:lvl1pPr>
              <a:defRPr sz="1600">
                <a:solidFill>
                  <a:schemeClr val="tx1">
                    <a:lumMod val="75000"/>
                    <a:lumOff val="25000"/>
                  </a:schemeClr>
                </a:solidFill>
              </a:defRPr>
            </a:lvl1pPr>
            <a:lvl2pPr>
              <a:defRPr sz="16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t>2021/1/5</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a:xfrm>
            <a:off x="669882" y="432000"/>
            <a:ext cx="10852237" cy="648000"/>
          </a:xfrm>
        </p:spPr>
        <p:txBody>
          <a:bodyPr vert="horz" lIns="101600" tIns="38100" rIns="76200" bIns="38100" rtlCol="0" anchor="ctr" anchorCtr="0">
            <a:noAutofit/>
          </a:bodyPr>
          <a:lstStyle>
            <a:lvl1pPr marL="0" marR="0" lvl="0" algn="l" defTabSz="914400" rtl="0" eaLnBrk="1" fontAlgn="auto" latinLnBrk="0" hangingPunct="1">
              <a:lnSpc>
                <a:spcPct val="100000"/>
              </a:lnSpc>
              <a:buNone/>
              <a:defRPr kumimoji="0" lang="zh-CN" altLang="en-US" sz="2800" b="1" i="0" u="none" strike="noStrike" kern="1200" cap="none" spc="200" normalizeH="0" baseline="0" noProof="1" dirty="0">
                <a:solidFill>
                  <a:schemeClr val="tx1"/>
                </a:solidFill>
                <a:uFillTx/>
                <a:latin typeface="+mj-lt"/>
                <a:ea typeface="+mj-ea"/>
                <a:cs typeface="+mj-cs"/>
                <a:sym typeface="+mn-ea"/>
              </a:defRPr>
            </a:lvl1pPr>
          </a:lstStyle>
          <a:p>
            <a:pPr lvl="0"/>
            <a:r>
              <a:rPr dirty="0">
                <a:sym typeface="+mn-ea"/>
              </a:rPr>
              <a:t>单击此处编辑母版标题样式</a:t>
            </a:r>
          </a:p>
        </p:txBody>
      </p:sp>
      <p:sp>
        <p:nvSpPr>
          <p:cNvPr id="3" name="文本占位符 2"/>
          <p:cNvSpPr>
            <a:spLocks noGrp="1"/>
          </p:cNvSpPr>
          <p:nvPr>
            <p:ph type="body" idx="1" hasCustomPrompt="1"/>
            <p:custDataLst>
              <p:tags r:id="rId2"/>
            </p:custDataLst>
          </p:nvPr>
        </p:nvSpPr>
        <p:spPr>
          <a:xfrm>
            <a:off x="669930" y="1296000"/>
            <a:ext cx="5283242" cy="381003"/>
          </a:xfrm>
        </p:spPr>
        <p:txBody>
          <a:bodyPr lIns="101600" tIns="38100" rIns="76200" bIns="38100" anchor="t" anchorCtr="0">
            <a:no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solidFill>
                <a:uFillTx/>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p>
        </p:txBody>
      </p:sp>
      <p:sp>
        <p:nvSpPr>
          <p:cNvPr id="4" name="内容占位符 3"/>
          <p:cNvSpPr>
            <a:spLocks noGrp="1"/>
          </p:cNvSpPr>
          <p:nvPr>
            <p:ph sz="half" idx="2"/>
            <p:custDataLst>
              <p:tags r:id="rId3"/>
            </p:custDataLst>
          </p:nvPr>
        </p:nvSpPr>
        <p:spPr>
          <a:xfrm>
            <a:off x="669925" y="1789043"/>
            <a:ext cx="5283200" cy="4552234"/>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5" name="文本占位符 4"/>
          <p:cNvSpPr>
            <a:spLocks noGrp="1"/>
          </p:cNvSpPr>
          <p:nvPr>
            <p:ph type="body" sz="quarter" idx="3" hasCustomPrompt="1"/>
            <p:custDataLst>
              <p:tags r:id="rId4"/>
            </p:custDataLst>
          </p:nvPr>
        </p:nvSpPr>
        <p:spPr>
          <a:xfrm>
            <a:off x="6235750" y="1296000"/>
            <a:ext cx="5283242" cy="381003"/>
          </a:xfrm>
        </p:spPr>
        <p:txBody>
          <a:bodyPr vert="horz" lIns="101600" tIns="38100" rIns="76200" bIns="38100" rtlCol="0" anchor="t" anchorCtr="0">
            <a:no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solidFill>
                <a:uFillTx/>
                <a:latin typeface="+mn-lt"/>
                <a:ea typeface="+mn-ea"/>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p>
        </p:txBody>
      </p:sp>
      <p:sp>
        <p:nvSpPr>
          <p:cNvPr id="6" name="内容占位符 5"/>
          <p:cNvSpPr>
            <a:spLocks noGrp="1"/>
          </p:cNvSpPr>
          <p:nvPr>
            <p:ph sz="quarter" idx="4"/>
            <p:custDataLst>
              <p:tags r:id="rId5"/>
            </p:custDataLst>
          </p:nvPr>
        </p:nvSpPr>
        <p:spPr>
          <a:xfrm>
            <a:off x="6235750" y="1789043"/>
            <a:ext cx="5283242" cy="4552234"/>
          </a:xfrm>
        </p:spPr>
        <p:txBody>
          <a:bodyPr vert="horz" lIns="101600" tIns="0" rIns="82550" bIns="0" rtlCol="0">
            <a:no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5pPr>
          </a:lstStyle>
          <a:p>
            <a:pPr lvl="0"/>
            <a:r>
              <a:rPr dirty="0">
                <a:sym typeface="+mn-ea"/>
              </a:rPr>
              <a:t>单击此处编辑母版文本样式</a:t>
            </a:r>
          </a:p>
          <a:p>
            <a:pPr lvl="1"/>
            <a:r>
              <a:rPr dirty="0">
                <a:sym typeface="+mn-ea"/>
              </a:rPr>
              <a:t>第二级</a:t>
            </a:r>
          </a:p>
          <a:p>
            <a:pPr lvl="2"/>
            <a:r>
              <a:rPr dirty="0">
                <a:sym typeface="+mn-ea"/>
              </a:rPr>
              <a:t>第三级</a:t>
            </a:r>
          </a:p>
          <a:p>
            <a:pPr lvl="3"/>
            <a:r>
              <a:rPr dirty="0">
                <a:sym typeface="+mn-ea"/>
              </a:rPr>
              <a:t>第四级</a:t>
            </a:r>
          </a:p>
          <a:p>
            <a:pPr lvl="4"/>
            <a:r>
              <a:rPr dirty="0">
                <a:sym typeface="+mn-ea"/>
              </a:rPr>
              <a:t>第五级</a:t>
            </a:r>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t>2021/1/5</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1"/>
            </p:custDataLst>
          </p:nvPr>
        </p:nvSpPr>
        <p:spPr/>
        <p:txBody>
          <a:bodyPr vert="horz" lIns="101600" tIns="38100" rIns="76200" bIns="38100" rtlCol="0" anchor="ctr" anchorCtr="0">
            <a:noAutofit/>
          </a:bodyPr>
          <a:lstStyle>
            <a:lvl1pPr marL="0" marR="0" lvl="0" algn="l" defTabSz="914400" rtl="0" eaLnBrk="1" fontAlgn="auto" latinLnBrk="0" hangingPunct="1">
              <a:lnSpc>
                <a:spcPct val="100000"/>
              </a:lnSpc>
              <a:buNone/>
              <a:defRPr kumimoji="0" lang="zh-CN" altLang="en-US" sz="2800" b="1" i="0" u="none" strike="noStrike" kern="1200" cap="none" spc="200" normalizeH="0" baseline="0" noProof="1" dirty="0">
                <a:solidFill>
                  <a:schemeClr val="tx1"/>
                </a:solidFill>
                <a:uFillTx/>
                <a:latin typeface="+mj-lt"/>
                <a:ea typeface="+mj-ea"/>
                <a:cs typeface="+mj-cs"/>
                <a:sym typeface="+mn-ea"/>
              </a:defRPr>
            </a:lvl1pPr>
          </a:lstStyle>
          <a:p>
            <a:pPr lvl="0"/>
            <a:r>
              <a:rPr>
                <a:sym typeface="+mn-ea"/>
              </a:rPr>
              <a:t>单击此处编辑母版标题样式</a:t>
            </a:r>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t>2021/1/5</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2021/1/5</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1"/>
            </p:custDataLst>
          </p:nvPr>
        </p:nvSpPr>
        <p:spPr>
          <a:xfrm>
            <a:off x="669930" y="1296000"/>
            <a:ext cx="5283242" cy="5040000"/>
          </a:xfrm>
        </p:spPr>
        <p:txBody>
          <a:bodyPr vert="horz" lIns="101600" tIns="0" rIns="82550" bIns="0" rtlCol="0">
            <a:no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2"/>
            </p:custDataLst>
          </p:nvPr>
        </p:nvSpPr>
        <p:spPr>
          <a:xfrm>
            <a:off x="6238925" y="1296000"/>
            <a:ext cx="5283242" cy="50400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lumMod val="75000"/>
                    <a:lumOff val="25000"/>
                  </a:schemeClr>
                </a:solidFill>
                <a:uFillTx/>
                <a:latin typeface="+mn-lt"/>
                <a:ea typeface="+mn-ea"/>
                <a:cs typeface="+mn-cs"/>
                <a:sym typeface="+mn-ea"/>
              </a:defRPr>
            </a:lvl1pPr>
          </a:lstStyle>
          <a:p>
            <a:pPr lvl="0"/>
            <a:r>
              <a:rPr>
                <a:sym typeface="+mn-ea"/>
              </a:rPr>
              <a:t>单击此处编辑母版文本样式</a:t>
            </a:r>
          </a:p>
        </p:txBody>
      </p:sp>
      <p:sp>
        <p:nvSpPr>
          <p:cNvPr id="5" name="日期占位符 4"/>
          <p:cNvSpPr>
            <a:spLocks noGrp="1"/>
          </p:cNvSpPr>
          <p:nvPr>
            <p:ph type="dt" sz="half" idx="10"/>
            <p:custDataLst>
              <p:tags r:id="rId3"/>
            </p:custDataLst>
          </p:nvPr>
        </p:nvSpPr>
        <p:spPr/>
        <p:txBody>
          <a:bodyPr/>
          <a:lstStyle/>
          <a:p>
            <a:fld id="{9EFD9D74-47D9-4702-A33C-335B63B48DBF}" type="datetimeFigureOut">
              <a:rPr lang="zh-CN" altLang="en-US" smtClean="0"/>
              <a:t>2021/1/5</a:t>
            </a:fld>
            <a:endParaRPr lang="zh-CN" altLang="en-US" dirty="0"/>
          </a:p>
        </p:txBody>
      </p:sp>
      <p:sp>
        <p:nvSpPr>
          <p:cNvPr id="6" name="页脚占位符 5"/>
          <p:cNvSpPr>
            <a:spLocks noGrp="1"/>
          </p:cNvSpPr>
          <p:nvPr>
            <p:ph type="ftr" sz="quarter" idx="11"/>
            <p:custDataLst>
              <p:tags r:id="rId4"/>
            </p:custDataLst>
          </p:nvPr>
        </p:nvSpPr>
        <p:spPr/>
        <p:txBody>
          <a:bodyPr/>
          <a:lstStyle/>
          <a:p>
            <a:endParaRPr lang="zh-CN" altLang="en-US" dirty="0"/>
          </a:p>
        </p:txBody>
      </p:sp>
      <p:sp>
        <p:nvSpPr>
          <p:cNvPr id="7" name="灯片编号占位符 6"/>
          <p:cNvSpPr>
            <a:spLocks noGrp="1"/>
          </p:cNvSpPr>
          <p:nvPr>
            <p:ph type="sldNum" sz="quarter" idx="12"/>
            <p:custDataLst>
              <p:tags r:id="rId5"/>
            </p:custDataLst>
          </p:nvPr>
        </p:nvSpPr>
        <p:spPr/>
        <p:txBody>
          <a:bodyPr/>
          <a:lstStyle/>
          <a:p>
            <a:fld id="{FABC47A4-756D-490B-A52F-7D9E2C9FC05F}" type="slidenum">
              <a:rPr lang="zh-CN" altLang="en-US" smtClean="0"/>
              <a:t>‹#›</a:t>
            </a:fld>
            <a:endParaRPr lang="zh-CN" altLang="en-US"/>
          </a:p>
        </p:txBody>
      </p:sp>
      <p:sp>
        <p:nvSpPr>
          <p:cNvPr id="9" name="标题 8"/>
          <p:cNvSpPr>
            <a:spLocks noGrp="1"/>
          </p:cNvSpPr>
          <p:nvPr>
            <p:ph type="title"/>
            <p:custDataLst>
              <p:tags r:id="rId6"/>
            </p:custDataLst>
          </p:nvPr>
        </p:nvSpPr>
        <p:spPr/>
        <p:txBody>
          <a:bodyPr/>
          <a:lstStyle/>
          <a:p>
            <a:r>
              <a:rPr lang="zh-CN" altLang="en-US"/>
              <a:t>单击此处编辑母版标题样式</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custDataLst>
              <p:tags r:id="rId1"/>
            </p:custDataLst>
          </p:nvPr>
        </p:nvSpPr>
        <p:spPr>
          <a:xfrm>
            <a:off x="10571135" y="952508"/>
            <a:ext cx="950984" cy="5388907"/>
          </a:xfrm>
        </p:spPr>
        <p:txBody>
          <a:bodyPr vert="eaVert" lIns="101600" tIns="38100" rIns="76200" bIns="38100" rtlCol="0" anchor="ctr" anchorCtr="0">
            <a:noAutofit/>
          </a:bodyPr>
          <a:lstStyle>
            <a:lvl1pPr marL="0" marR="0" lvl="0" algn="l" defTabSz="914400" rtl="0" eaLnBrk="1" fontAlgn="auto" latinLnBrk="0" hangingPunct="1">
              <a:lnSpc>
                <a:spcPct val="100000"/>
              </a:lnSpc>
              <a:spcAft>
                <a:spcPts val="0"/>
              </a:spcAft>
              <a:buNone/>
              <a:defRPr kumimoji="0" lang="zh-CN" altLang="en-US" sz="2400" b="1" i="0" u="none" strike="noStrike" kern="1200" cap="none" spc="200" normalizeH="0" baseline="0" noProof="1" dirty="0">
                <a:solidFill>
                  <a:schemeClr val="tx1"/>
                </a:solidFill>
                <a:uFillTx/>
                <a:latin typeface="+mj-lt"/>
                <a:ea typeface="+mj-ea"/>
                <a:cs typeface="+mj-cs"/>
                <a:sym typeface="+mn-ea"/>
              </a:defRPr>
            </a:lvl1pPr>
          </a:lstStyle>
          <a:p>
            <a:pPr lvl="0"/>
            <a:r>
              <a:rPr>
                <a:sym typeface="+mn-ea"/>
              </a:rPr>
              <a:t>单击此处编辑母版标题样式</a:t>
            </a:r>
          </a:p>
        </p:txBody>
      </p:sp>
      <p:sp>
        <p:nvSpPr>
          <p:cNvPr id="3" name="竖排文字占位符 2"/>
          <p:cNvSpPr>
            <a:spLocks noGrp="1"/>
          </p:cNvSpPr>
          <p:nvPr>
            <p:ph type="body" orient="vert" idx="1"/>
            <p:custDataLst>
              <p:tags r:id="rId2"/>
            </p:custDataLst>
          </p:nvPr>
        </p:nvSpPr>
        <p:spPr>
          <a:xfrm>
            <a:off x="669925" y="952500"/>
            <a:ext cx="9828101" cy="5388907"/>
          </a:xfrm>
        </p:spPr>
        <p:txBody>
          <a:bodyPr vert="eaVert"/>
          <a:lstStyle>
            <a:lvl1pPr indent="0" eaLnBrk="1" fontAlgn="auto" latinLnBrk="0" hangingPunct="1">
              <a:defRPr>
                <a:solidFill>
                  <a:schemeClr val="tx1">
                    <a:lumMod val="75000"/>
                    <a:lumOff val="25000"/>
                  </a:schemeClr>
                </a:solidFill>
              </a:defRPr>
            </a:lvl1pPr>
            <a:lvl2pPr indent="0" eaLnBrk="1" fontAlgn="auto" latinLnBrk="0" hangingPunct="1">
              <a:defRPr>
                <a:solidFill>
                  <a:schemeClr val="tx1">
                    <a:lumMod val="75000"/>
                    <a:lumOff val="25000"/>
                  </a:schemeClr>
                </a:solidFill>
              </a:defRPr>
            </a:lvl2pPr>
            <a:lvl3pPr indent="0" eaLnBrk="1" fontAlgn="auto" latinLnBrk="0" hangingPunct="1">
              <a:defRPr>
                <a:solidFill>
                  <a:schemeClr val="tx1">
                    <a:lumMod val="75000"/>
                    <a:lumOff val="25000"/>
                  </a:schemeClr>
                </a:solidFill>
              </a:defRPr>
            </a:lvl3pPr>
            <a:lvl4pPr indent="0" eaLnBrk="1" fontAlgn="auto" latinLnBrk="0" hangingPunct="1">
              <a:defRPr>
                <a:solidFill>
                  <a:schemeClr val="tx1">
                    <a:lumMod val="75000"/>
                    <a:lumOff val="25000"/>
                  </a:schemeClr>
                </a:solidFill>
              </a:defRPr>
            </a:lvl4pPr>
            <a:lvl5pPr indent="0" eaLnBrk="1" fontAlgn="auto" latinLnBrk="0" hangingPunct="1">
              <a:defRPr>
                <a:solidFill>
                  <a:schemeClr val="tx1">
                    <a:lumMod val="75000"/>
                    <a:lumOff val="25000"/>
                  </a:schemeClr>
                </a:solidFill>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2021/1/5</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18"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FFFF"/>
            </a:gs>
            <a:gs pos="100000">
              <a:srgbClr val="DCDCDC"/>
            </a:gs>
          </a:gsLst>
          <a:lin ang="5400000" scaled="0"/>
        </a:gra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3"/>
            </p:custDataLst>
          </p:nvPr>
        </p:nvSpPr>
        <p:spPr>
          <a:xfrm>
            <a:off x="669882" y="432000"/>
            <a:ext cx="10852237" cy="648000"/>
          </a:xfrm>
          <a:prstGeom prst="rect">
            <a:avLst/>
          </a:prstGeom>
        </p:spPr>
        <p:txBody>
          <a:bodyPr vert="horz" lIns="101600" tIns="38100" rIns="76200" bIns="38100" rtlCol="0" anchor="ctr" anchorCtr="0">
            <a:noAutofit/>
          </a:bodyPr>
          <a:lstStyle/>
          <a:p>
            <a:r>
              <a:rPr lang="zh-CN" altLang="en-US" dirty="0"/>
              <a:t>单击此处编辑母版标题样式</a:t>
            </a:r>
          </a:p>
        </p:txBody>
      </p:sp>
      <p:sp>
        <p:nvSpPr>
          <p:cNvPr id="3" name="文本占位符 2"/>
          <p:cNvSpPr>
            <a:spLocks noGrp="1"/>
          </p:cNvSpPr>
          <p:nvPr>
            <p:ph type="body" idx="1"/>
            <p:custDataLst>
              <p:tags r:id="rId14"/>
            </p:custDataLst>
          </p:nvPr>
        </p:nvSpPr>
        <p:spPr>
          <a:xfrm>
            <a:off x="669882" y="1296000"/>
            <a:ext cx="10852237" cy="5040000"/>
          </a:xfrm>
          <a:prstGeom prst="rect">
            <a:avLst/>
          </a:prstGeom>
        </p:spPr>
        <p:txBody>
          <a:bodyPr vert="horz" lIns="101600" tIns="0" rIns="82550" bIns="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custDataLst>
              <p:tags r:id="rId15"/>
            </p:custDataLst>
          </p:nvPr>
        </p:nvSpPr>
        <p:spPr>
          <a:xfrm>
            <a:off x="879742" y="6349833"/>
            <a:ext cx="2700000" cy="316800"/>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fld id="{760FBDFE-C587-4B4C-A407-44438C67B59E}" type="datetimeFigureOut">
              <a:rPr lang="zh-CN" altLang="en-US" smtClean="0"/>
              <a:t>2021/1/5</a:t>
            </a:fld>
            <a:endParaRPr lang="zh-CN" altLang="en-US"/>
          </a:p>
        </p:txBody>
      </p:sp>
      <p:sp>
        <p:nvSpPr>
          <p:cNvPr id="5" name="页脚占位符 4"/>
          <p:cNvSpPr>
            <a:spLocks noGrp="1"/>
          </p:cNvSpPr>
          <p:nvPr>
            <p:ph type="ftr" sz="quarter" idx="3"/>
            <p:custDataLst>
              <p:tags r:id="rId16"/>
            </p:custDataLst>
          </p:nvPr>
        </p:nvSpPr>
        <p:spPr>
          <a:xfrm>
            <a:off x="4116000" y="6349833"/>
            <a:ext cx="3960000" cy="316800"/>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17"/>
            </p:custDataLst>
          </p:nvPr>
        </p:nvSpPr>
        <p:spPr>
          <a:xfrm>
            <a:off x="8610600" y="6349833"/>
            <a:ext cx="2700000" cy="316800"/>
          </a:xfrm>
          <a:prstGeom prst="rect">
            <a:avLst/>
          </a:prstGeom>
        </p:spPr>
        <p:txBody>
          <a:bodyPr vert="horz" lIns="91440" tIns="45720" rIns="91440" bIns="45720" rtlCol="0" anchor="ctr">
            <a:normAutofit/>
          </a:bodyPr>
          <a:lstStyle>
            <a:lvl1pPr algn="r">
              <a:defRPr sz="1200">
                <a:solidFill>
                  <a:schemeClr val="tx1">
                    <a:tint val="75000"/>
                  </a:schemeClr>
                </a:solidFill>
              </a:defRPr>
            </a:lvl1pPr>
          </a:lstStyle>
          <a:p>
            <a:fld id="{49AE70B2-8BF9-45C0-BB95-33D1B9D3A854}" type="slidenum">
              <a:rPr lang="zh-CN" altLang="en-US" smtClean="0"/>
              <a:t>‹#›</a:t>
            </a:fld>
            <a:endParaRPr lang="zh-CN" altLang="en-US" dirty="0"/>
          </a:p>
        </p:txBody>
      </p:sp>
      <p:sp>
        <p:nvSpPr>
          <p:cNvPr id="7" name="KSO_TEMPLATE" hidden="1"/>
          <p:cNvSpPr/>
          <p:nvPr>
            <p:custDataLst>
              <p:tags r:id="rId18"/>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fontAlgn="auto" latinLnBrk="0" hangingPunct="1">
        <a:lnSpc>
          <a:spcPct val="100000"/>
        </a:lnSpc>
        <a:spcBef>
          <a:spcPct val="0"/>
        </a:spcBef>
        <a:buNone/>
        <a:defRPr sz="2800" b="1" u="none" strike="noStrike" kern="1200" cap="none" spc="200" normalizeH="0">
          <a:solidFill>
            <a:schemeClr val="tx1"/>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lt"/>
          <a:ea typeface="+mn-ea"/>
          <a:cs typeface="+mn-cs"/>
        </a:defRPr>
      </a:lvl1pPr>
      <a:lvl2pPr marL="685800"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sz="1600" u="none" strike="noStrike" kern="1200" cap="none" spc="150" normalizeH="0" baseline="0">
          <a:solidFill>
            <a:schemeClr val="tx1"/>
          </a:solidFill>
          <a:uFillTx/>
          <a:latin typeface="+mn-lt"/>
          <a:ea typeface="+mn-ea"/>
          <a:cs typeface="+mn-cs"/>
        </a:defRPr>
      </a:lvl2pPr>
      <a:lvl3pPr marL="11430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lt"/>
          <a:ea typeface="+mn-ea"/>
          <a:cs typeface="+mn-cs"/>
        </a:defRPr>
      </a:lvl3pPr>
      <a:lvl4pPr marL="16002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lt"/>
          <a:ea typeface="+mn-ea"/>
          <a:cs typeface="+mn-cs"/>
        </a:defRPr>
      </a:lvl4pPr>
      <a:lvl5pPr marL="2057400" indent="-228600" algn="l" defTabSz="914400" rtl="0" eaLnBrk="1" fontAlgn="auto" latinLnBrk="0" hangingPunct="1">
        <a:lnSpc>
          <a:spcPct val="130000"/>
        </a:lnSpc>
        <a:spcBef>
          <a:spcPts val="0"/>
        </a:spcBef>
        <a:spcAft>
          <a:spcPts val="1000"/>
        </a:spcAft>
        <a:buFont typeface="Arial" panose="020B0604020202020204" pitchFamily="34" charset="0"/>
        <a:buChar char="•"/>
        <a:defRPr sz="1600" u="none" strike="noStrike" kern="1200" cap="none" spc="150" normalizeH="0" baseline="0">
          <a:solidFill>
            <a:schemeClr val="tx1"/>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2.xml"/><Relationship Id="rId4"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66.xml"/><Relationship Id="rId4" Type="http://schemas.openxmlformats.org/officeDocument/2006/relationships/image" Target="../media/image1.jpeg"/></Relationships>
</file>

<file path=ppt/slides/_rels/slide11.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71.xml"/><Relationship Id="rId4" Type="http://schemas.openxmlformats.org/officeDocument/2006/relationships/image" Target="../media/image1.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72.xml"/><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63.xml"/><Relationship Id="rId5" Type="http://schemas.openxmlformats.org/officeDocument/2006/relationships/image" Target="../media/image2.png"/><Relationship Id="rId4" Type="http://schemas.openxmlformats.org/officeDocument/2006/relationships/image" Target="../media/image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64.xml"/><Relationship Id="rId4" Type="http://schemas.openxmlformats.org/officeDocument/2006/relationships/image" Target="../media/image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65.xml"/><Relationship Id="rId4" Type="http://schemas.openxmlformats.org/officeDocument/2006/relationships/image" Target="../media/image1.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1617345" y="1903095"/>
            <a:ext cx="9303385" cy="1420495"/>
          </a:xfrm>
          <a:prstGeom prst="rect">
            <a:avLst/>
          </a:prstGeom>
          <a:noFill/>
        </p:spPr>
        <p:txBody>
          <a:bodyPr wrap="none" rtlCol="0" anchor="t">
            <a:spAutoFit/>
          </a:bodyPr>
          <a:lstStyle/>
          <a:p>
            <a:pPr algn="ctr">
              <a:lnSpc>
                <a:spcPct val="120000"/>
              </a:lnSpc>
              <a:defRPr/>
            </a:pPr>
            <a:r>
              <a:rPr lang="zh-CN" altLang="en-US" sz="7200" spc="300" dirty="0">
                <a:solidFill>
                  <a:schemeClr val="bg1"/>
                </a:solidFill>
                <a:latin typeface="Source Han Sans HW SC" panose="020F0502020204030204"/>
                <a:ea typeface="庞门正道标题体" panose="02010600030101010101" pitchFamily="2" charset="-122"/>
                <a:sym typeface="Source Han Sans HW SC" panose="020F0502020204030204"/>
              </a:rPr>
              <a:t>可爱卡通培训</a:t>
            </a:r>
            <a:r>
              <a:rPr lang="en-US" altLang="zh-CN" sz="7200" spc="300" dirty="0">
                <a:solidFill>
                  <a:schemeClr val="bg1"/>
                </a:solidFill>
                <a:latin typeface="Source Han Sans HW SC" panose="020F0502020204030204"/>
                <a:ea typeface="庞门正道标题体" panose="02010600030101010101" pitchFamily="2" charset="-122"/>
                <a:sym typeface="Source Han Sans HW SC" panose="020F0502020204030204"/>
              </a:rPr>
              <a:t>PPT</a:t>
            </a:r>
            <a:r>
              <a:rPr lang="zh-CN" altLang="en-US" sz="7200" spc="300" dirty="0">
                <a:solidFill>
                  <a:schemeClr val="bg1"/>
                </a:solidFill>
                <a:latin typeface="Source Han Sans HW SC" panose="020F0502020204030204"/>
                <a:ea typeface="庞门正道标题体" panose="02010600030101010101" pitchFamily="2" charset="-122"/>
                <a:sym typeface="Source Han Sans HW SC" panose="020F0502020204030204"/>
              </a:rPr>
              <a:t>模板</a:t>
            </a:r>
            <a:endParaRPr lang="zh-CN" altLang="en-US" sz="7200" dirty="0"/>
          </a:p>
        </p:txBody>
      </p:sp>
      <p:sp>
        <p:nvSpPr>
          <p:cNvPr id="9" name="文本框 8"/>
          <p:cNvSpPr txBox="1"/>
          <p:nvPr/>
        </p:nvSpPr>
        <p:spPr>
          <a:xfrm>
            <a:off x="1759585" y="3117850"/>
            <a:ext cx="9018905" cy="922020"/>
          </a:xfrm>
          <a:prstGeom prst="rect">
            <a:avLst/>
          </a:prstGeom>
          <a:noFill/>
        </p:spPr>
        <p:txBody>
          <a:bodyPr wrap="none" rtlCol="0" anchor="t">
            <a:spAutoFit/>
          </a:bodyPr>
          <a:lstStyle/>
          <a:p>
            <a:pPr algn="ctr">
              <a:lnSpc>
                <a:spcPct val="150000"/>
              </a:lnSpc>
            </a:pPr>
            <a:r>
              <a:rPr lang="en-US" altLang="zh-CN" dirty="0" err="1">
                <a:solidFill>
                  <a:schemeClr val="bg1"/>
                </a:solidFill>
                <a:latin typeface="Source Han Sans HW SC" panose="020F0502020204030204"/>
                <a:ea typeface="庞门正道标题体" panose="02010600030101010101" pitchFamily="2" charset="-122"/>
                <a:cs typeface="Ebrima" panose="02000000000000000000" pitchFamily="2" charset="0"/>
                <a:sym typeface="Source Han Sans HW SC" panose="020F0502020204030204"/>
              </a:rPr>
              <a:t>Tosummarize</a:t>
            </a:r>
            <a:r>
              <a:rPr lang="en-US" altLang="zh-CN" dirty="0">
                <a:solidFill>
                  <a:schemeClr val="bg1"/>
                </a:solidFill>
                <a:latin typeface="Source Han Sans HW SC" panose="020F0502020204030204"/>
                <a:ea typeface="庞门正道标题体" panose="02010600030101010101" pitchFamily="2" charset="-122"/>
                <a:cs typeface="Ebrima" panose="02000000000000000000" pitchFamily="2" charset="0"/>
                <a:sym typeface="Source Han Sans HW SC" panose="020F0502020204030204"/>
              </a:rPr>
              <a:t> what I have said: aim for the highest; never enter a bar room; do not touch liquor, </a:t>
            </a:r>
          </a:p>
          <a:p>
            <a:pPr algn="ctr">
              <a:lnSpc>
                <a:spcPct val="150000"/>
              </a:lnSpc>
            </a:pPr>
            <a:r>
              <a:rPr lang="en-US" altLang="zh-CN" dirty="0">
                <a:solidFill>
                  <a:schemeClr val="bg1"/>
                </a:solidFill>
                <a:latin typeface="Source Han Sans HW SC" panose="020F0502020204030204"/>
                <a:ea typeface="庞门正道标题体" panose="02010600030101010101" pitchFamily="2" charset="-122"/>
                <a:cs typeface="Ebrima" panose="02000000000000000000" pitchFamily="2" charset="0"/>
                <a:sym typeface="Source Han Sans HW SC" panose="020F0502020204030204"/>
              </a:rPr>
              <a:t>or if at all only at meals; never speculate; </a:t>
            </a:r>
            <a:endParaRPr lang="zh-CN" altLang="en-US"/>
          </a:p>
        </p:txBody>
      </p:sp>
      <p:sp>
        <p:nvSpPr>
          <p:cNvPr id="20" name="矩形 19"/>
          <p:cNvSpPr/>
          <p:nvPr/>
        </p:nvSpPr>
        <p:spPr>
          <a:xfrm>
            <a:off x="1859280" y="4172585"/>
            <a:ext cx="8737600" cy="1070421"/>
          </a:xfrm>
          <a:prstGeom prst="rect">
            <a:avLst/>
          </a:prstGeom>
        </p:spPr>
        <p:txBody>
          <a:bodyPr wrap="square">
            <a:spAutoFit/>
          </a:bodyPr>
          <a:lstStyle/>
          <a:p>
            <a:pPr marL="0" marR="0" lvl="0" indent="0" algn="ctr" defTabSz="1219200" rtl="0" eaLnBrk="1" fontAlgn="auto" latinLnBrk="0" hangingPunct="1">
              <a:lnSpc>
                <a:spcPct val="140000"/>
              </a:lnSpc>
              <a:spcBef>
                <a:spcPts val="0"/>
              </a:spcBef>
              <a:spcAft>
                <a:spcPts val="0"/>
              </a:spcAft>
              <a:buClrTx/>
              <a:buSzTx/>
              <a:buFontTx/>
              <a:buNone/>
              <a:defRPr/>
            </a:pPr>
            <a:r>
              <a:rPr kumimoji="0" lang="zh-CN" altLang="en-US" sz="2400" i="0" u="none" strike="noStrike" kern="1200" cap="none" normalizeH="0" baseline="0" noProof="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rPr>
              <a:t>汇报人：</a:t>
            </a:r>
            <a:r>
              <a:rPr kumimoji="0" lang="en-US" altLang="zh-CN" sz="2400" i="0" u="none" strike="noStrike" kern="1200" cap="none" normalizeH="0" baseline="0" noProof="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rPr>
              <a:t>xiazaii</a:t>
            </a:r>
          </a:p>
          <a:p>
            <a:pPr marL="0" marR="0" lvl="0" indent="0" algn="ctr" defTabSz="1219200" rtl="0" eaLnBrk="1" fontAlgn="auto" latinLnBrk="0" hangingPunct="1">
              <a:lnSpc>
                <a:spcPct val="140000"/>
              </a:lnSpc>
              <a:spcBef>
                <a:spcPts val="0"/>
              </a:spcBef>
              <a:spcAft>
                <a:spcPts val="0"/>
              </a:spcAft>
              <a:buClrTx/>
              <a:buSzTx/>
              <a:buFontTx/>
              <a:buNone/>
              <a:defRPr/>
            </a:pPr>
            <a:r>
              <a:rPr kumimoji="0" lang="zh-CN" altLang="en-US" sz="2400" i="0" u="none" strike="noStrike" kern="1200" cap="none" normalizeH="0" baseline="0" noProof="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rPr>
              <a:t>时间：</a:t>
            </a:r>
            <a:r>
              <a:rPr kumimoji="0" lang="en-US" altLang="zh-CN" sz="2400" i="0" u="none" strike="noStrike" kern="1200" cap="none" normalizeH="0" baseline="0" noProof="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rPr>
              <a:t>20**</a:t>
            </a:r>
            <a:r>
              <a:rPr kumimoji="0" lang="zh-CN" altLang="en-US" sz="2400" i="0" u="none" strike="noStrike" kern="1200" cap="none" normalizeH="0" baseline="0" noProof="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rPr>
              <a:t>年**月**日</a:t>
            </a:r>
            <a:endParaRPr kumimoji="0" lang="zh-CN" altLang="en-US" sz="2400" i="0" u="none" strike="noStrike" kern="1200" cap="none" normalizeH="0" baseline="0" noProof="0" dirty="0">
              <a:solidFill>
                <a:schemeClr val="bg1"/>
              </a:solidFill>
              <a:uLnTx/>
              <a:uFillTx/>
              <a:latin typeface="思源黑体 CN Regular" panose="020B0500000000000000" charset="-122"/>
              <a:ea typeface="思源黑体 CN Regular" panose="020B0500000000000000" charset="-122"/>
              <a:cs typeface="思源黑体 CN Regular" panose="020B0500000000000000" charset="-122"/>
              <a:sym typeface="Century Gothic" panose="020B0502020202020204" pitchFamily="34" charset="0"/>
            </a:endParaRP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par>
                          <p:cTn id="8" fill="hold">
                            <p:stCondLst>
                              <p:cond delay="500"/>
                            </p:stCondLst>
                            <p:childTnLst>
                              <p:par>
                                <p:cTn id="9" presetID="3" presetClass="entr" presetSubtype="1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blinds(horizontal)">
                                      <p:cBhvr>
                                        <p:cTn id="11" dur="500"/>
                                        <p:tgtEl>
                                          <p:spTgt spid="9"/>
                                        </p:tgtEl>
                                      </p:cBhvr>
                                    </p:animEffect>
                                  </p:childTnLst>
                                </p:cTn>
                              </p:par>
                            </p:childTnLst>
                          </p:cTn>
                        </p:par>
                        <p:par>
                          <p:cTn id="12" fill="hold">
                            <p:stCondLst>
                              <p:cond delay="1000"/>
                            </p:stCondLst>
                            <p:childTnLst>
                              <p:par>
                                <p:cTn id="13" presetID="5" presetClass="entr" presetSubtype="10"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checkerboard(across)">
                                      <p:cBhvr>
                                        <p:cTn id="15"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20"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3011488" y="2226945"/>
            <a:ext cx="5905500" cy="1420495"/>
          </a:xfrm>
          <a:prstGeom prst="rect">
            <a:avLst/>
          </a:prstGeom>
          <a:noFill/>
        </p:spPr>
        <p:txBody>
          <a:bodyPr wrap="none" rtlCol="0" anchor="t">
            <a:spAutoFit/>
          </a:bodyPr>
          <a:lstStyle/>
          <a:p>
            <a:pPr algn="ctr">
              <a:lnSpc>
                <a:spcPct val="120000"/>
              </a:lnSpc>
              <a:defRPr/>
            </a:pPr>
            <a:r>
              <a:rPr lang="zh-CN" altLang="en-US" sz="7200" b="1" spc="300">
                <a:solidFill>
                  <a:schemeClr val="bg1"/>
                </a:solidFill>
                <a:latin typeface="思源黑体 CN Regular" panose="020B0500000000000000" charset="-122"/>
                <a:ea typeface="思源黑体 CN Regular" panose="020B0500000000000000" charset="-122"/>
                <a:cs typeface="+mn-ea"/>
                <a:sym typeface="Century Gothic" panose="020B0502020202020204" pitchFamily="34" charset="0"/>
              </a:rPr>
              <a:t>总体工作概述</a:t>
            </a:r>
          </a:p>
        </p:txBody>
      </p:sp>
      <p:sp>
        <p:nvSpPr>
          <p:cNvPr id="3" name="泪滴形 2"/>
          <p:cNvSpPr/>
          <p:nvPr/>
        </p:nvSpPr>
        <p:spPr>
          <a:xfrm>
            <a:off x="2028825" y="2595245"/>
            <a:ext cx="885825" cy="885825"/>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a:solidFill>
                  <a:schemeClr val="accent1"/>
                </a:solidFill>
                <a:latin typeface="锐字真言体免费商用" panose="02010600030101010101" charset="-122"/>
                <a:ea typeface="锐字真言体免费商用" panose="02010600030101010101" charset="-122"/>
              </a:rPr>
              <a:t>3</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with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diamond(in)">
                                      <p:cBhvr>
                                        <p:cTn id="7" dur="1000"/>
                                        <p:tgtEl>
                                          <p:spTgt spid="3"/>
                                        </p:tgtEl>
                                      </p:cBhvr>
                                    </p:animEffect>
                                  </p:childTnLst>
                                </p:cTn>
                              </p:par>
                            </p:childTnLst>
                          </p:cTn>
                        </p:par>
                        <p:par>
                          <p:cTn id="8" fill="hold">
                            <p:stCondLst>
                              <p:cond delay="1000"/>
                            </p:stCondLst>
                            <p:childTnLst>
                              <p:par>
                                <p:cTn id="9" presetID="5" presetClass="entr" presetSubtype="1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heckerboard(across)">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4"/>
          <p:cNvSpPr>
            <a:spLocks noChangeArrowheads="1"/>
          </p:cNvSpPr>
          <p:nvPr>
            <p:custDataLst>
              <p:tags r:id="rId1"/>
            </p:custDataLst>
          </p:nvPr>
        </p:nvSpPr>
        <p:spPr bwMode="white">
          <a:xfrm>
            <a:off x="1204844" y="2220216"/>
            <a:ext cx="3118631" cy="2159052"/>
          </a:xfrm>
          <a:prstGeom prst="roundRect">
            <a:avLst>
              <a:gd name="adj" fmla="val 5304"/>
            </a:avLst>
          </a:prstGeom>
          <a:noFill/>
          <a:ln w="38100" cap="flat" cmpd="sng" algn="ctr">
            <a:solidFill>
              <a:schemeClr val="accent1"/>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6" name="AutoShape 4"/>
          <p:cNvSpPr>
            <a:spLocks noChangeArrowheads="1"/>
          </p:cNvSpPr>
          <p:nvPr>
            <p:custDataLst>
              <p:tags r:id="rId2"/>
            </p:custDataLst>
          </p:nvPr>
        </p:nvSpPr>
        <p:spPr bwMode="white">
          <a:xfrm>
            <a:off x="4604968" y="2220216"/>
            <a:ext cx="3118631" cy="2159052"/>
          </a:xfrm>
          <a:prstGeom prst="roundRect">
            <a:avLst>
              <a:gd name="adj" fmla="val 7012"/>
            </a:avLst>
          </a:prstGeom>
          <a:noFill/>
          <a:ln w="38100" cap="flat" cmpd="sng" algn="ctr">
            <a:solidFill>
              <a:schemeClr val="accent2"/>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7" name="AutoShape 3"/>
          <p:cNvSpPr>
            <a:spLocks noChangeArrowheads="1"/>
          </p:cNvSpPr>
          <p:nvPr/>
        </p:nvSpPr>
        <p:spPr bwMode="auto">
          <a:xfrm>
            <a:off x="5084758" y="1731036"/>
            <a:ext cx="2159052" cy="671705"/>
          </a:xfrm>
          <a:prstGeom prst="roundRect">
            <a:avLst/>
          </a:prstGeom>
          <a:solidFill>
            <a:schemeClr val="accent2">
              <a:lumMod val="100000"/>
            </a:schemeClr>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8" name="TextBox 4"/>
          <p:cNvSpPr txBox="1"/>
          <p:nvPr/>
        </p:nvSpPr>
        <p:spPr bwMode="auto">
          <a:xfrm>
            <a:off x="5208176" y="1819281"/>
            <a:ext cx="1912220" cy="509757"/>
          </a:xfrm>
          <a:prstGeom prst="roundRect">
            <a:avLst/>
          </a:prstGeom>
          <a:noFill/>
          <a:scene3d>
            <a:camera prst="orthographicFront"/>
            <a:lightRig rig="threePt" dir="t"/>
          </a:scene3d>
          <a:sp3d/>
        </p:spPr>
        <p:txBody>
          <a:bodyPr>
            <a:spAutoFit/>
          </a:bodyPr>
          <a:lstStyle/>
          <a:p>
            <a:pPr algn="ctr" defTabSz="1218565">
              <a:buClr>
                <a:srgbClr val="7F7F7F"/>
              </a:buClr>
              <a:defRPr/>
            </a:pPr>
            <a:r>
              <a:rPr lang="zh-CN" altLang="en-US" sz="2400" dirty="0">
                <a:solidFill>
                  <a:srgbClr val="F8F8F8"/>
                </a:solidFill>
                <a:latin typeface="锐字真言体免费商用" panose="02010600030101010101" charset="-122"/>
                <a:ea typeface="锐字真言体免费商用" panose="02010600030101010101" charset="-122"/>
                <a:sym typeface="Source Han Sans HW SC" panose="020F0502020204030204"/>
              </a:rPr>
              <a:t>分标题二</a:t>
            </a:r>
          </a:p>
        </p:txBody>
      </p:sp>
      <p:sp>
        <p:nvSpPr>
          <p:cNvPr id="9" name="AutoShape 3"/>
          <p:cNvSpPr>
            <a:spLocks noChangeArrowheads="1"/>
          </p:cNvSpPr>
          <p:nvPr/>
        </p:nvSpPr>
        <p:spPr bwMode="auto">
          <a:xfrm>
            <a:off x="1684634" y="1731036"/>
            <a:ext cx="2159052" cy="671705"/>
          </a:xfrm>
          <a:prstGeom prst="roundRect">
            <a:avLst/>
          </a:prstGeom>
          <a:solidFill>
            <a:schemeClr val="accent5"/>
          </a:solidFill>
          <a:ln w="25400" cap="flat" cmpd="sng" algn="ctr">
            <a:noFill/>
            <a:prstDash val="solid"/>
          </a:ln>
          <a:effectLst/>
        </p:spPr>
        <p:txBody>
          <a:bodyPr anchor="ctr"/>
          <a:lstStyle/>
          <a:p>
            <a:pPr algn="ctr" defTabSz="1218565" eaLnBrk="0" fontAlgn="ctr" hangingPunct="0">
              <a:buClr>
                <a:srgbClr val="FF0000"/>
              </a:buClr>
              <a:buSzPct val="70000"/>
              <a:buFont typeface="Wingdings" panose="05000000000000000000" pitchFamily="2" charset="2"/>
              <a:buChar char="u"/>
              <a:defRPr/>
            </a:pPr>
            <a:endParaRPr lang="zh-CN" altLang="zh-CN" sz="2135" b="1" kern="0"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10" name="TextBox 6"/>
          <p:cNvSpPr txBox="1"/>
          <p:nvPr/>
        </p:nvSpPr>
        <p:spPr bwMode="auto">
          <a:xfrm>
            <a:off x="1844485" y="1819281"/>
            <a:ext cx="1839350" cy="510183"/>
          </a:xfrm>
          <a:prstGeom prst="roundRect">
            <a:avLst/>
          </a:prstGeom>
          <a:noFill/>
          <a:scene3d>
            <a:camera prst="orthographicFront"/>
            <a:lightRig rig="threePt" dir="t"/>
          </a:scene3d>
          <a:sp3d/>
        </p:spPr>
        <p:txBody>
          <a:bodyPr>
            <a:spAutoFit/>
          </a:bodyPr>
          <a:lstStyle/>
          <a:p>
            <a:pPr algn="ctr" defTabSz="1218565">
              <a:buClr>
                <a:srgbClr val="7F7F7F"/>
              </a:buClr>
              <a:defRPr/>
            </a:pPr>
            <a:r>
              <a:rPr lang="zh-CN" altLang="en-US" sz="2400" dirty="0">
                <a:solidFill>
                  <a:srgbClr val="F8F8F8"/>
                </a:solidFill>
                <a:latin typeface="锐字真言体免费商用" panose="02010600030101010101" charset="-122"/>
                <a:ea typeface="锐字真言体免费商用" panose="02010600030101010101" charset="-122"/>
                <a:sym typeface="Source Han Sans HW SC" panose="020F0502020204030204"/>
              </a:rPr>
              <a:t>分标题一</a:t>
            </a:r>
          </a:p>
        </p:txBody>
      </p:sp>
      <p:sp>
        <p:nvSpPr>
          <p:cNvPr id="15" name="AutoShape 4"/>
          <p:cNvSpPr>
            <a:spLocks noChangeArrowheads="1"/>
          </p:cNvSpPr>
          <p:nvPr>
            <p:custDataLst>
              <p:tags r:id="rId3"/>
            </p:custDataLst>
          </p:nvPr>
        </p:nvSpPr>
        <p:spPr bwMode="white">
          <a:xfrm>
            <a:off x="7994354" y="2220216"/>
            <a:ext cx="3118631" cy="2159052"/>
          </a:xfrm>
          <a:prstGeom prst="roundRect">
            <a:avLst>
              <a:gd name="adj" fmla="val 7012"/>
            </a:avLst>
          </a:prstGeom>
          <a:noFill/>
          <a:ln w="38100" cap="flat" cmpd="sng" algn="ctr">
            <a:solidFill>
              <a:schemeClr val="accent3"/>
            </a:solidFill>
            <a:prstDash val="solid"/>
          </a:ln>
          <a:effectLst/>
        </p:spPr>
        <p:txBody>
          <a:bodyPr anchor="ctr"/>
          <a:lstStyle/>
          <a:p>
            <a:pPr marL="0" lvl="2" algn="ctr" defTabSz="1218565" eaLnBrk="0" fontAlgn="ctr" hangingPunct="0">
              <a:buClr>
                <a:srgbClr val="FF0000"/>
              </a:buClr>
              <a:buSzPct val="70000"/>
              <a:buFont typeface="Wingdings" panose="05000000000000000000" pitchFamily="2" charset="2"/>
              <a:buChar char="n"/>
              <a:tabLst>
                <a:tab pos="181610" algn="l"/>
              </a:tabLst>
              <a:defRPr/>
            </a:pPr>
            <a:endParaRPr lang="zh-CN" altLang="en-US" sz="1865" kern="0"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16" name="AutoShape 3"/>
          <p:cNvSpPr>
            <a:spLocks noChangeArrowheads="1"/>
          </p:cNvSpPr>
          <p:nvPr/>
        </p:nvSpPr>
        <p:spPr bwMode="auto">
          <a:xfrm>
            <a:off x="8474144" y="1731036"/>
            <a:ext cx="2159052" cy="671705"/>
          </a:xfrm>
          <a:prstGeom prst="roundRect">
            <a:avLst/>
          </a:prstGeom>
          <a:solidFill>
            <a:schemeClr val="accent3"/>
          </a:solidFill>
          <a:ln w="25400" cap="flat" cmpd="sng" algn="ctr">
            <a:noFill/>
            <a:prstDash val="solid"/>
          </a:ln>
          <a:effectLst/>
        </p:spPr>
        <p:txBody>
          <a:bodyPr anchor="ctr"/>
          <a:lstStyle/>
          <a:p>
            <a:pPr algn="ctr" defTabSz="1218565" eaLnBrk="0" fontAlgn="ctr" hangingPunct="0">
              <a:buClr>
                <a:srgbClr val="FF0000"/>
              </a:buClr>
              <a:buSzPct val="70000"/>
              <a:defRPr/>
            </a:pPr>
            <a:endParaRPr lang="zh-CN" altLang="zh-CN" sz="2135" b="1" kern="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17" name="TextBox 13"/>
          <p:cNvSpPr txBox="1"/>
          <p:nvPr/>
        </p:nvSpPr>
        <p:spPr bwMode="auto">
          <a:xfrm>
            <a:off x="8597564" y="1819281"/>
            <a:ext cx="1912220" cy="509757"/>
          </a:xfrm>
          <a:prstGeom prst="roundRect">
            <a:avLst/>
          </a:prstGeom>
          <a:noFill/>
          <a:scene3d>
            <a:camera prst="orthographicFront"/>
            <a:lightRig rig="threePt" dir="t"/>
          </a:scene3d>
          <a:sp3d/>
        </p:spPr>
        <p:txBody>
          <a:bodyPr>
            <a:spAutoFit/>
          </a:bodyPr>
          <a:lstStyle/>
          <a:p>
            <a:pPr algn="ctr" defTabSz="1218565">
              <a:buClr>
                <a:srgbClr val="7F7F7F"/>
              </a:buClr>
              <a:defRPr/>
            </a:pPr>
            <a:r>
              <a:rPr lang="zh-CN" altLang="en-US" sz="2400" dirty="0">
                <a:solidFill>
                  <a:srgbClr val="F8F8F8"/>
                </a:solidFill>
                <a:latin typeface="锐字真言体免费商用" panose="02010600030101010101" charset="-122"/>
                <a:ea typeface="锐字真言体免费商用" panose="02010600030101010101" charset="-122"/>
                <a:sym typeface="Source Han Sans HW SC" panose="020F0502020204030204"/>
              </a:rPr>
              <a:t>分标题三</a:t>
            </a:r>
          </a:p>
        </p:txBody>
      </p:sp>
      <p:sp>
        <p:nvSpPr>
          <p:cNvPr id="20" name="TextBox 16"/>
          <p:cNvSpPr txBox="1"/>
          <p:nvPr/>
        </p:nvSpPr>
        <p:spPr>
          <a:xfrm flipH="1">
            <a:off x="1204842" y="5056466"/>
            <a:ext cx="10052443" cy="607695"/>
          </a:xfrm>
          <a:prstGeom prst="rect">
            <a:avLst/>
          </a:prstGeom>
          <a:noFill/>
        </p:spPr>
        <p:txBody>
          <a:bodyPr wrap="square" rtlCol="0">
            <a:spAutoFit/>
          </a:bodyPr>
          <a:lstStyle/>
          <a:p>
            <a:pPr lvl="0" defTabSz="913765">
              <a:lnSpc>
                <a:spcPct val="120000"/>
              </a:lnSpc>
              <a:spcBef>
                <a:spcPct val="0"/>
              </a:spcBef>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输入替换内容输入替换内容输入替换内容输入替换内容输入替换内容输入替换内容输入替换内容输入替换内容输入替换内容</a:t>
            </a:r>
            <a:endParaRPr lang="zh-CN" altLang="en-US" sz="1400" dirty="0">
              <a:solidFill>
                <a:schemeClr val="bg2">
                  <a:lumMod val="1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24" name="išľíďè"/>
          <p:cNvSpPr/>
          <p:nvPr/>
        </p:nvSpPr>
        <p:spPr bwMode="auto">
          <a:xfrm>
            <a:off x="1568773" y="3273960"/>
            <a:ext cx="2543126" cy="4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5" name="iSlíďè"/>
          <p:cNvSpPr txBox="1"/>
          <p:nvPr/>
        </p:nvSpPr>
        <p:spPr bwMode="auto">
          <a:xfrm>
            <a:off x="1585199" y="2961784"/>
            <a:ext cx="1933825" cy="30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rmAutofit fontScale="92500" lnSpcReduction="20000"/>
          </a:bodyPr>
          <a:lstStyle/>
          <a:p>
            <a:pPr marL="0" marR="0" lvl="0" indent="0" algn="l" defTabSz="913765" rtl="0" eaLnBrk="1" fontAlgn="auto" latinLnBrk="0" hangingPunct="1">
              <a:spcBef>
                <a:spcPct val="0"/>
              </a:spcBef>
              <a:spcAft>
                <a:spcPts val="0"/>
              </a:spcAft>
              <a:buClrTx/>
              <a:buSzTx/>
              <a:buFontTx/>
              <a:buNone/>
              <a:defRPr/>
            </a:pPr>
            <a:r>
              <a:rPr kumimoji="0" lang="zh-CN" altLang="en-US"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26" name="išľíďè"/>
          <p:cNvSpPr/>
          <p:nvPr/>
        </p:nvSpPr>
        <p:spPr bwMode="auto">
          <a:xfrm>
            <a:off x="4944058" y="3264831"/>
            <a:ext cx="2543126" cy="4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7" name="iSlíďè"/>
          <p:cNvSpPr txBox="1"/>
          <p:nvPr/>
        </p:nvSpPr>
        <p:spPr bwMode="auto">
          <a:xfrm>
            <a:off x="4960484" y="2952655"/>
            <a:ext cx="1933825" cy="30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16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28" name="išľíďè"/>
          <p:cNvSpPr/>
          <p:nvPr/>
        </p:nvSpPr>
        <p:spPr bwMode="auto">
          <a:xfrm>
            <a:off x="8364314" y="3264831"/>
            <a:ext cx="2543126" cy="490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9" name="iSlíďè"/>
          <p:cNvSpPr txBox="1"/>
          <p:nvPr/>
        </p:nvSpPr>
        <p:spPr bwMode="auto">
          <a:xfrm>
            <a:off x="8371215" y="2952655"/>
            <a:ext cx="1933825" cy="309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16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900" decel="100000" fill="hold"/>
                                        <p:tgtEl>
                                          <p:spTgt spid="9"/>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9"/>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slide(fromBottom)">
                                      <p:cBhvr>
                                        <p:cTn id="14" dur="500"/>
                                        <p:tgtEl>
                                          <p:spTgt spid="10"/>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slide(fromTop)">
                                      <p:cBhvr>
                                        <p:cTn id="18" dur="500"/>
                                        <p:tgtEl>
                                          <p:spTgt spid="4"/>
                                        </p:tgtEl>
                                      </p:cBhvr>
                                    </p:animEffect>
                                  </p:childTnLst>
                                </p:cTn>
                              </p:par>
                            </p:childTnLst>
                          </p:cTn>
                        </p:par>
                        <p:par>
                          <p:cTn id="19" fill="hold">
                            <p:stCondLst>
                              <p:cond delay="2000"/>
                            </p:stCondLst>
                            <p:childTnLst>
                              <p:par>
                                <p:cTn id="20" presetID="37" presetClass="entr" presetSubtype="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1000"/>
                                        <p:tgtEl>
                                          <p:spTgt spid="7"/>
                                        </p:tgtEl>
                                      </p:cBhvr>
                                    </p:animEffect>
                                    <p:anim calcmode="lin" valueType="num">
                                      <p:cBhvr>
                                        <p:cTn id="23" dur="1000" fill="hold"/>
                                        <p:tgtEl>
                                          <p:spTgt spid="7"/>
                                        </p:tgtEl>
                                        <p:attrNameLst>
                                          <p:attrName>ppt_x</p:attrName>
                                        </p:attrNameLst>
                                      </p:cBhvr>
                                      <p:tavLst>
                                        <p:tav tm="0">
                                          <p:val>
                                            <p:strVal val="#ppt_x"/>
                                          </p:val>
                                        </p:tav>
                                        <p:tav tm="100000">
                                          <p:val>
                                            <p:strVal val="#ppt_x"/>
                                          </p:val>
                                        </p:tav>
                                      </p:tavLst>
                                    </p:anim>
                                    <p:anim calcmode="lin" valueType="num">
                                      <p:cBhvr>
                                        <p:cTn id="24" dur="900" decel="100000" fill="hold"/>
                                        <p:tgtEl>
                                          <p:spTgt spid="7"/>
                                        </p:tgtEl>
                                        <p:attrNameLst>
                                          <p:attrName>ppt_y</p:attrName>
                                        </p:attrNameLst>
                                      </p:cBhvr>
                                      <p:tavLst>
                                        <p:tav tm="0">
                                          <p:val>
                                            <p:strVal val="#ppt_y+1"/>
                                          </p:val>
                                        </p:tav>
                                        <p:tav tm="100000">
                                          <p:val>
                                            <p:strVal val="#ppt_y-.03"/>
                                          </p:val>
                                        </p:tav>
                                      </p:tavLst>
                                    </p:anim>
                                    <p:anim calcmode="lin" valueType="num">
                                      <p:cBhvr>
                                        <p:cTn id="25" dur="100" accel="100000" fill="hold">
                                          <p:stCondLst>
                                            <p:cond delay="900"/>
                                          </p:stCondLst>
                                        </p:cTn>
                                        <p:tgtEl>
                                          <p:spTgt spid="7"/>
                                        </p:tgtEl>
                                        <p:attrNameLst>
                                          <p:attrName>ppt_y</p:attrName>
                                        </p:attrNameLst>
                                      </p:cBhvr>
                                      <p:tavLst>
                                        <p:tav tm="0">
                                          <p:val>
                                            <p:strVal val="#ppt_y-.03"/>
                                          </p:val>
                                        </p:tav>
                                        <p:tav tm="100000">
                                          <p:val>
                                            <p:strVal val="#ppt_y"/>
                                          </p:val>
                                        </p:tav>
                                      </p:tavLst>
                                    </p:anim>
                                  </p:childTnLst>
                                </p:cTn>
                              </p:par>
                            </p:childTnLst>
                          </p:cTn>
                        </p:par>
                        <p:par>
                          <p:cTn id="26" fill="hold">
                            <p:stCondLst>
                              <p:cond delay="3000"/>
                            </p:stCondLst>
                            <p:childTnLst>
                              <p:par>
                                <p:cTn id="27" presetID="12" presetClass="entr" presetSubtype="4" fill="hold" grpId="0" nodeType="after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slide(fromBottom)">
                                      <p:cBhvr>
                                        <p:cTn id="29" dur="500"/>
                                        <p:tgtEl>
                                          <p:spTgt spid="8"/>
                                        </p:tgtEl>
                                      </p:cBhvr>
                                    </p:animEffect>
                                  </p:childTnLst>
                                </p:cTn>
                              </p:par>
                            </p:childTnLst>
                          </p:cTn>
                        </p:par>
                        <p:par>
                          <p:cTn id="30" fill="hold">
                            <p:stCondLst>
                              <p:cond delay="3500"/>
                            </p:stCondLst>
                            <p:childTnLst>
                              <p:par>
                                <p:cTn id="31" presetID="12" presetClass="entr" presetSubtype="1"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slide(fromTop)">
                                      <p:cBhvr>
                                        <p:cTn id="33" dur="500"/>
                                        <p:tgtEl>
                                          <p:spTgt spid="6"/>
                                        </p:tgtEl>
                                      </p:cBhvr>
                                    </p:animEffect>
                                  </p:childTnLst>
                                </p:cTn>
                              </p:par>
                            </p:childTnLst>
                          </p:cTn>
                        </p:par>
                        <p:par>
                          <p:cTn id="34" fill="hold">
                            <p:stCondLst>
                              <p:cond delay="4000"/>
                            </p:stCondLst>
                            <p:childTnLst>
                              <p:par>
                                <p:cTn id="35" presetID="37" presetClass="entr" presetSubtype="0" fill="hold" grpId="0" nodeType="after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anim calcmode="lin" valueType="num">
                                      <p:cBhvr>
                                        <p:cTn id="38" dur="1000" fill="hold"/>
                                        <p:tgtEl>
                                          <p:spTgt spid="16"/>
                                        </p:tgtEl>
                                        <p:attrNameLst>
                                          <p:attrName>ppt_x</p:attrName>
                                        </p:attrNameLst>
                                      </p:cBhvr>
                                      <p:tavLst>
                                        <p:tav tm="0">
                                          <p:val>
                                            <p:strVal val="#ppt_x"/>
                                          </p:val>
                                        </p:tav>
                                        <p:tav tm="100000">
                                          <p:val>
                                            <p:strVal val="#ppt_x"/>
                                          </p:val>
                                        </p:tav>
                                      </p:tavLst>
                                    </p:anim>
                                    <p:anim calcmode="lin" valueType="num">
                                      <p:cBhvr>
                                        <p:cTn id="39" dur="900" decel="100000" fill="hold"/>
                                        <p:tgtEl>
                                          <p:spTgt spid="16"/>
                                        </p:tgtEl>
                                        <p:attrNameLst>
                                          <p:attrName>ppt_y</p:attrName>
                                        </p:attrNameLst>
                                      </p:cBhvr>
                                      <p:tavLst>
                                        <p:tav tm="0">
                                          <p:val>
                                            <p:strVal val="#ppt_y+1"/>
                                          </p:val>
                                        </p:tav>
                                        <p:tav tm="100000">
                                          <p:val>
                                            <p:strVal val="#ppt_y-.03"/>
                                          </p:val>
                                        </p:tav>
                                      </p:tavLst>
                                    </p:anim>
                                    <p:anim calcmode="lin" valueType="num">
                                      <p:cBhvr>
                                        <p:cTn id="40"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childTnLst>
                          </p:cTn>
                        </p:par>
                        <p:par>
                          <p:cTn id="41" fill="hold">
                            <p:stCondLst>
                              <p:cond delay="5000"/>
                            </p:stCondLst>
                            <p:childTnLst>
                              <p:par>
                                <p:cTn id="42" presetID="12" presetClass="entr" presetSubtype="4" fill="hold" grpId="0"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slide(fromBottom)">
                                      <p:cBhvr>
                                        <p:cTn id="44" dur="500"/>
                                        <p:tgtEl>
                                          <p:spTgt spid="17"/>
                                        </p:tgtEl>
                                      </p:cBhvr>
                                    </p:animEffect>
                                  </p:childTnLst>
                                </p:cTn>
                              </p:par>
                            </p:childTnLst>
                          </p:cTn>
                        </p:par>
                        <p:par>
                          <p:cTn id="45" fill="hold">
                            <p:stCondLst>
                              <p:cond delay="5500"/>
                            </p:stCondLst>
                            <p:childTnLst>
                              <p:par>
                                <p:cTn id="46" presetID="12" presetClass="entr" presetSubtype="1" fill="hold" grpId="0" nodeType="after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slide(fromTop)">
                                      <p:cBhvr>
                                        <p:cTn id="48" dur="500"/>
                                        <p:tgtEl>
                                          <p:spTgt spid="15"/>
                                        </p:tgtEl>
                                      </p:cBhvr>
                                    </p:animEffect>
                                  </p:childTnLst>
                                </p:cTn>
                              </p:par>
                            </p:childTnLst>
                          </p:cTn>
                        </p:par>
                        <p:par>
                          <p:cTn id="49" fill="hold">
                            <p:stCondLst>
                              <p:cond delay="6000"/>
                            </p:stCondLst>
                            <p:childTnLst>
                              <p:par>
                                <p:cTn id="50" presetID="42" presetClass="entr" presetSubtype="0" fill="hold" grpId="0"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1000"/>
                                        <p:tgtEl>
                                          <p:spTgt spid="20"/>
                                        </p:tgtEl>
                                      </p:cBhvr>
                                    </p:animEffect>
                                    <p:anim calcmode="lin" valueType="num">
                                      <p:cBhvr>
                                        <p:cTn id="53" dur="1000" fill="hold"/>
                                        <p:tgtEl>
                                          <p:spTgt spid="20"/>
                                        </p:tgtEl>
                                        <p:attrNameLst>
                                          <p:attrName>ppt_x</p:attrName>
                                        </p:attrNameLst>
                                      </p:cBhvr>
                                      <p:tavLst>
                                        <p:tav tm="0">
                                          <p:val>
                                            <p:strVal val="#ppt_x"/>
                                          </p:val>
                                        </p:tav>
                                        <p:tav tm="100000">
                                          <p:val>
                                            <p:strVal val="#ppt_x"/>
                                          </p:val>
                                        </p:tav>
                                      </p:tavLst>
                                    </p:anim>
                                    <p:anim calcmode="lin" valueType="num">
                                      <p:cBhvr>
                                        <p:cTn id="5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6" grpId="0" bldLvl="0" animBg="1"/>
      <p:bldP spid="7" grpId="0" bldLvl="0" animBg="1"/>
      <p:bldP spid="8" grpId="0"/>
      <p:bldP spid="9" grpId="0" bldLvl="0" animBg="1"/>
      <p:bldP spid="10" grpId="0"/>
      <p:bldP spid="15" grpId="0" bldLvl="0" animBg="1"/>
      <p:bldP spid="16" grpId="0" bldLvl="0" animBg="1"/>
      <p:bldP spid="17" grpId="0"/>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千图PPT彼岸天：ID 8661124库_组合 3"/>
          <p:cNvGrpSpPr/>
          <p:nvPr>
            <p:custDataLst>
              <p:tags r:id="rId1"/>
            </p:custDataLst>
          </p:nvPr>
        </p:nvGrpSpPr>
        <p:grpSpPr>
          <a:xfrm>
            <a:off x="6499688" y="1908800"/>
            <a:ext cx="3934658" cy="4059730"/>
            <a:chOff x="6230221" y="1399136"/>
            <a:chExt cx="3934658" cy="4059730"/>
          </a:xfrm>
        </p:grpSpPr>
        <p:sp>
          <p:nvSpPr>
            <p:cNvPr id="36" name="任意多边形 12"/>
            <p:cNvSpPr/>
            <p:nvPr/>
          </p:nvSpPr>
          <p:spPr>
            <a:xfrm rot="16200000" flipH="1">
              <a:off x="6167685" y="1461672"/>
              <a:ext cx="4059730" cy="3934658"/>
            </a:xfrm>
            <a:custGeom>
              <a:avLst/>
              <a:gdLst/>
              <a:ahLst/>
              <a:cxnLst>
                <a:cxn ang="0">
                  <a:pos x="wd2" y="hd2"/>
                </a:cxn>
                <a:cxn ang="5400000">
                  <a:pos x="wd2" y="hd2"/>
                </a:cxn>
                <a:cxn ang="10800000">
                  <a:pos x="wd2" y="hd2"/>
                </a:cxn>
                <a:cxn ang="16200000">
                  <a:pos x="wd2" y="hd2"/>
                </a:cxn>
              </a:cxnLst>
              <a:rect l="0" t="0" r="r" b="b"/>
              <a:pathLst>
                <a:path w="21500" h="21600" extrusionOk="0">
                  <a:moveTo>
                    <a:pt x="8400" y="0"/>
                  </a:moveTo>
                  <a:cubicBezTo>
                    <a:pt x="3600" y="0"/>
                    <a:pt x="0" y="3946"/>
                    <a:pt x="0" y="8723"/>
                  </a:cubicBezTo>
                  <a:cubicBezTo>
                    <a:pt x="0" y="13500"/>
                    <a:pt x="3600" y="17238"/>
                    <a:pt x="8400" y="17238"/>
                  </a:cubicBezTo>
                  <a:cubicBezTo>
                    <a:pt x="10400" y="17238"/>
                    <a:pt x="12200" y="16615"/>
                    <a:pt x="13600" y="15369"/>
                  </a:cubicBezTo>
                  <a:cubicBezTo>
                    <a:pt x="13600" y="15369"/>
                    <a:pt x="13800" y="15577"/>
                    <a:pt x="13800" y="15785"/>
                  </a:cubicBezTo>
                  <a:cubicBezTo>
                    <a:pt x="19000" y="20977"/>
                    <a:pt x="19000" y="20977"/>
                    <a:pt x="19000" y="20977"/>
                  </a:cubicBezTo>
                  <a:cubicBezTo>
                    <a:pt x="19400" y="21392"/>
                    <a:pt x="19800" y="21600"/>
                    <a:pt x="20000" y="21600"/>
                  </a:cubicBezTo>
                  <a:cubicBezTo>
                    <a:pt x="20400" y="21600"/>
                    <a:pt x="20800" y="21392"/>
                    <a:pt x="21200" y="20977"/>
                  </a:cubicBezTo>
                  <a:cubicBezTo>
                    <a:pt x="21600" y="20562"/>
                    <a:pt x="21600" y="19523"/>
                    <a:pt x="21200" y="18900"/>
                  </a:cubicBezTo>
                  <a:cubicBezTo>
                    <a:pt x="16000" y="13500"/>
                    <a:pt x="16000" y="13500"/>
                    <a:pt x="16000" y="13500"/>
                  </a:cubicBezTo>
                  <a:cubicBezTo>
                    <a:pt x="15800" y="13500"/>
                    <a:pt x="15600" y="13292"/>
                    <a:pt x="15400" y="13292"/>
                  </a:cubicBezTo>
                  <a:cubicBezTo>
                    <a:pt x="16200" y="11838"/>
                    <a:pt x="16600" y="10385"/>
                    <a:pt x="16600" y="8723"/>
                  </a:cubicBezTo>
                  <a:cubicBezTo>
                    <a:pt x="16600" y="3946"/>
                    <a:pt x="13000" y="0"/>
                    <a:pt x="8400" y="0"/>
                  </a:cubicBezTo>
                  <a:close/>
                  <a:moveTo>
                    <a:pt x="8400" y="2700"/>
                  </a:moveTo>
                  <a:cubicBezTo>
                    <a:pt x="11600" y="2700"/>
                    <a:pt x="14200" y="5400"/>
                    <a:pt x="14200" y="8723"/>
                  </a:cubicBezTo>
                  <a:cubicBezTo>
                    <a:pt x="14200" y="9762"/>
                    <a:pt x="13800" y="10800"/>
                    <a:pt x="13200" y="11838"/>
                  </a:cubicBezTo>
                  <a:cubicBezTo>
                    <a:pt x="12800" y="12669"/>
                    <a:pt x="12800" y="12669"/>
                    <a:pt x="12800" y="12669"/>
                  </a:cubicBezTo>
                  <a:cubicBezTo>
                    <a:pt x="12000" y="13292"/>
                    <a:pt x="12000" y="13292"/>
                    <a:pt x="12000" y="13292"/>
                  </a:cubicBezTo>
                  <a:cubicBezTo>
                    <a:pt x="11000" y="14123"/>
                    <a:pt x="9600" y="14538"/>
                    <a:pt x="8400" y="14538"/>
                  </a:cubicBezTo>
                  <a:cubicBezTo>
                    <a:pt x="5200" y="14538"/>
                    <a:pt x="2600" y="12046"/>
                    <a:pt x="2600" y="8723"/>
                  </a:cubicBezTo>
                  <a:cubicBezTo>
                    <a:pt x="2600" y="5400"/>
                    <a:pt x="5200" y="2700"/>
                    <a:pt x="8400" y="2700"/>
                  </a:cubicBezTo>
                  <a:close/>
                </a:path>
              </a:pathLst>
            </a:custGeom>
            <a:solidFill>
              <a:schemeClr val="accent1"/>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37" name="任意多边形 13"/>
            <p:cNvSpPr/>
            <p:nvPr/>
          </p:nvSpPr>
          <p:spPr>
            <a:xfrm rot="293297">
              <a:off x="7449364" y="2379655"/>
              <a:ext cx="675407" cy="708500"/>
            </a:xfrm>
            <a:custGeom>
              <a:avLst/>
              <a:gdLst/>
              <a:ahLst/>
              <a:cxnLst>
                <a:cxn ang="0">
                  <a:pos x="wd2" y="hd2"/>
                </a:cxn>
                <a:cxn ang="5400000">
                  <a:pos x="wd2" y="hd2"/>
                </a:cxn>
                <a:cxn ang="10800000">
                  <a:pos x="wd2" y="hd2"/>
                </a:cxn>
                <a:cxn ang="16200000">
                  <a:pos x="wd2" y="hd2"/>
                </a:cxn>
              </a:cxnLst>
              <a:rect l="0" t="0" r="r" b="b"/>
              <a:pathLst>
                <a:path w="21005" h="21302" extrusionOk="0">
                  <a:moveTo>
                    <a:pt x="7820" y="21302"/>
                  </a:moveTo>
                  <a:cubicBezTo>
                    <a:pt x="7134" y="21302"/>
                    <a:pt x="6486" y="20992"/>
                    <a:pt x="6071" y="20461"/>
                  </a:cubicBezTo>
                  <a:lnTo>
                    <a:pt x="446" y="13281"/>
                  </a:lnTo>
                  <a:cubicBezTo>
                    <a:pt x="-286" y="12346"/>
                    <a:pt x="-96" y="11016"/>
                    <a:pt x="870" y="10309"/>
                  </a:cubicBezTo>
                  <a:cubicBezTo>
                    <a:pt x="1839" y="9601"/>
                    <a:pt x="3213" y="9787"/>
                    <a:pt x="3944" y="10719"/>
                  </a:cubicBezTo>
                  <a:lnTo>
                    <a:pt x="7644" y="15443"/>
                  </a:lnTo>
                  <a:lnTo>
                    <a:pt x="16947" y="999"/>
                  </a:lnTo>
                  <a:cubicBezTo>
                    <a:pt x="17588" y="6"/>
                    <a:pt x="18941" y="-298"/>
                    <a:pt x="19970" y="321"/>
                  </a:cubicBezTo>
                  <a:cubicBezTo>
                    <a:pt x="20999" y="939"/>
                    <a:pt x="21314" y="2249"/>
                    <a:pt x="20673" y="3242"/>
                  </a:cubicBezTo>
                  <a:lnTo>
                    <a:pt x="9683" y="20302"/>
                  </a:lnTo>
                  <a:cubicBezTo>
                    <a:pt x="9300" y="20895"/>
                    <a:pt x="8641" y="21269"/>
                    <a:pt x="7920" y="21300"/>
                  </a:cubicBezTo>
                  <a:cubicBezTo>
                    <a:pt x="7886" y="21302"/>
                    <a:pt x="7852" y="21302"/>
                    <a:pt x="7820" y="21302"/>
                  </a:cubicBezTo>
                  <a:close/>
                </a:path>
              </a:pathLst>
            </a:custGeom>
            <a:solidFill>
              <a:schemeClr val="accent4"/>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38" name="矩形 37"/>
            <p:cNvSpPr/>
            <p:nvPr/>
          </p:nvSpPr>
          <p:spPr>
            <a:xfrm>
              <a:off x="7243644" y="3182779"/>
              <a:ext cx="1231106" cy="246221"/>
            </a:xfrm>
            <a:prstGeom prst="rect">
              <a:avLst/>
            </a:prstGeom>
            <a:ln w="12700">
              <a:miter lim="400000"/>
            </a:ln>
          </p:spPr>
          <p:txBody>
            <a:bodyPr wrap="none" lIns="0" tIns="0" rIns="0" bIns="0" anchor="ctr">
              <a:normAutofit fontScale="97500"/>
            </a:bodyPr>
            <a:lstStyle/>
            <a:p>
              <a:pPr lvl="0" algn="ctr">
                <a:defRPr sz="1800">
                  <a:solidFill>
                    <a:srgbClr val="000000"/>
                  </a:solidFill>
                </a:defRPr>
              </a:pPr>
              <a:r>
                <a:rPr lang="zh-CN" altLang="en-US" sz="1600" dirty="0">
                  <a:solidFill>
                    <a:schemeClr val="tx1">
                      <a:lumMod val="65000"/>
                      <a:lumOff val="35000"/>
                    </a:schemeClr>
                  </a:solidFill>
                  <a:latin typeface="思源黑体 CN Regular" panose="020B0500000000000000" charset="-122"/>
                  <a:ea typeface="思源黑体 CN Regular" panose="020B0500000000000000" charset="-122"/>
                  <a:sym typeface="Source Han Sans HW SC" panose="020F0502020204030204"/>
                </a:rPr>
                <a:t>输入标题文本</a:t>
              </a:r>
            </a:p>
          </p:txBody>
        </p:sp>
      </p:grpSp>
      <p:grpSp>
        <p:nvGrpSpPr>
          <p:cNvPr id="7" name="组合 6"/>
          <p:cNvGrpSpPr/>
          <p:nvPr/>
        </p:nvGrpSpPr>
        <p:grpSpPr>
          <a:xfrm>
            <a:off x="2117425" y="1599256"/>
            <a:ext cx="734512" cy="734512"/>
            <a:chOff x="1847958" y="1809393"/>
            <a:chExt cx="734512" cy="734512"/>
          </a:xfrm>
        </p:grpSpPr>
        <p:sp>
          <p:nvSpPr>
            <p:cNvPr id="32" name="任意多边形 19"/>
            <p:cNvSpPr/>
            <p:nvPr/>
          </p:nvSpPr>
          <p:spPr>
            <a:xfrm>
              <a:off x="1847958" y="1809393"/>
              <a:ext cx="734512" cy="73451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33" name="任意多边形 20"/>
            <p:cNvSpPr/>
            <p:nvPr/>
          </p:nvSpPr>
          <p:spPr>
            <a:xfrm>
              <a:off x="2066699" y="2044447"/>
              <a:ext cx="297019" cy="264425"/>
            </a:xfrm>
            <a:custGeom>
              <a:avLst/>
              <a:gdLst/>
              <a:ahLst/>
              <a:cxnLst>
                <a:cxn ang="0">
                  <a:pos x="wd2" y="hd2"/>
                </a:cxn>
                <a:cxn ang="5400000">
                  <a:pos x="wd2" y="hd2"/>
                </a:cxn>
                <a:cxn ang="10800000">
                  <a:pos x="wd2" y="hd2"/>
                </a:cxn>
                <a:cxn ang="16200000">
                  <a:pos x="wd2" y="hd2"/>
                </a:cxn>
              </a:cxnLst>
              <a:rect l="0" t="0" r="r" b="b"/>
              <a:pathLst>
                <a:path w="21600" h="21600" extrusionOk="0">
                  <a:moveTo>
                    <a:pt x="17360" y="0"/>
                  </a:moveTo>
                  <a:cubicBezTo>
                    <a:pt x="17248" y="0"/>
                    <a:pt x="17149" y="31"/>
                    <a:pt x="17076" y="113"/>
                  </a:cubicBezTo>
                  <a:cubicBezTo>
                    <a:pt x="17005" y="194"/>
                    <a:pt x="16960" y="305"/>
                    <a:pt x="16960" y="431"/>
                  </a:cubicBezTo>
                  <a:lnTo>
                    <a:pt x="16960" y="3038"/>
                  </a:lnTo>
                  <a:lnTo>
                    <a:pt x="13888" y="3038"/>
                  </a:lnTo>
                  <a:cubicBezTo>
                    <a:pt x="13342" y="3038"/>
                    <a:pt x="12818" y="3113"/>
                    <a:pt x="12336" y="3263"/>
                  </a:cubicBezTo>
                  <a:cubicBezTo>
                    <a:pt x="11854" y="3411"/>
                    <a:pt x="11440" y="3595"/>
                    <a:pt x="11067" y="3825"/>
                  </a:cubicBezTo>
                  <a:cubicBezTo>
                    <a:pt x="10694" y="4054"/>
                    <a:pt x="10331" y="4355"/>
                    <a:pt x="9982" y="4744"/>
                  </a:cubicBezTo>
                  <a:cubicBezTo>
                    <a:pt x="9633" y="5131"/>
                    <a:pt x="9325" y="5508"/>
                    <a:pt x="9081" y="5869"/>
                  </a:cubicBezTo>
                  <a:cubicBezTo>
                    <a:pt x="8836" y="6229"/>
                    <a:pt x="8581" y="6678"/>
                    <a:pt x="8313" y="7219"/>
                  </a:cubicBezTo>
                  <a:cubicBezTo>
                    <a:pt x="8044" y="7760"/>
                    <a:pt x="7826" y="8238"/>
                    <a:pt x="7662" y="8644"/>
                  </a:cubicBezTo>
                  <a:cubicBezTo>
                    <a:pt x="7497" y="9050"/>
                    <a:pt x="7294" y="9549"/>
                    <a:pt x="7061" y="10144"/>
                  </a:cubicBezTo>
                  <a:cubicBezTo>
                    <a:pt x="6691" y="11127"/>
                    <a:pt x="6383" y="11909"/>
                    <a:pt x="6126" y="12469"/>
                  </a:cubicBezTo>
                  <a:cubicBezTo>
                    <a:pt x="5934" y="12883"/>
                    <a:pt x="5760" y="13215"/>
                    <a:pt x="5592" y="13500"/>
                  </a:cubicBezTo>
                  <a:cubicBezTo>
                    <a:pt x="5423" y="13784"/>
                    <a:pt x="5215" y="14073"/>
                    <a:pt x="4974" y="14344"/>
                  </a:cubicBezTo>
                  <a:cubicBezTo>
                    <a:pt x="4733" y="14615"/>
                    <a:pt x="4453" y="14808"/>
                    <a:pt x="4140" y="14944"/>
                  </a:cubicBezTo>
                  <a:cubicBezTo>
                    <a:pt x="3827" y="15079"/>
                    <a:pt x="3474" y="15150"/>
                    <a:pt x="3088" y="15150"/>
                  </a:cubicBezTo>
                  <a:lnTo>
                    <a:pt x="401" y="15150"/>
                  </a:lnTo>
                  <a:cubicBezTo>
                    <a:pt x="288" y="15150"/>
                    <a:pt x="189" y="15200"/>
                    <a:pt x="117" y="15281"/>
                  </a:cubicBezTo>
                  <a:cubicBezTo>
                    <a:pt x="45" y="15363"/>
                    <a:pt x="0" y="15455"/>
                    <a:pt x="0" y="15581"/>
                  </a:cubicBezTo>
                  <a:lnTo>
                    <a:pt x="0" y="18187"/>
                  </a:lnTo>
                  <a:cubicBezTo>
                    <a:pt x="0" y="18314"/>
                    <a:pt x="45" y="18406"/>
                    <a:pt x="117" y="18487"/>
                  </a:cubicBezTo>
                  <a:cubicBezTo>
                    <a:pt x="189" y="18568"/>
                    <a:pt x="288" y="18619"/>
                    <a:pt x="401" y="18619"/>
                  </a:cubicBezTo>
                  <a:lnTo>
                    <a:pt x="3088" y="18619"/>
                  </a:lnTo>
                  <a:cubicBezTo>
                    <a:pt x="3635" y="18619"/>
                    <a:pt x="4159" y="18543"/>
                    <a:pt x="4640" y="18394"/>
                  </a:cubicBezTo>
                  <a:cubicBezTo>
                    <a:pt x="5122" y="18246"/>
                    <a:pt x="5536" y="18062"/>
                    <a:pt x="5909" y="17831"/>
                  </a:cubicBezTo>
                  <a:cubicBezTo>
                    <a:pt x="6282" y="17602"/>
                    <a:pt x="6645" y="17282"/>
                    <a:pt x="6994" y="16894"/>
                  </a:cubicBezTo>
                  <a:cubicBezTo>
                    <a:pt x="7344" y="16506"/>
                    <a:pt x="7650" y="16129"/>
                    <a:pt x="7896" y="15769"/>
                  </a:cubicBezTo>
                  <a:cubicBezTo>
                    <a:pt x="8140" y="15408"/>
                    <a:pt x="8395" y="14960"/>
                    <a:pt x="8663" y="14419"/>
                  </a:cubicBezTo>
                  <a:cubicBezTo>
                    <a:pt x="8933" y="13878"/>
                    <a:pt x="9150" y="13400"/>
                    <a:pt x="9314" y="12994"/>
                  </a:cubicBezTo>
                  <a:cubicBezTo>
                    <a:pt x="9479" y="12588"/>
                    <a:pt x="9683" y="12089"/>
                    <a:pt x="9915" y="11494"/>
                  </a:cubicBezTo>
                  <a:cubicBezTo>
                    <a:pt x="10285" y="10510"/>
                    <a:pt x="10593" y="9746"/>
                    <a:pt x="10850" y="9187"/>
                  </a:cubicBezTo>
                  <a:cubicBezTo>
                    <a:pt x="11043" y="8772"/>
                    <a:pt x="11216" y="8422"/>
                    <a:pt x="11384" y="8138"/>
                  </a:cubicBezTo>
                  <a:cubicBezTo>
                    <a:pt x="11553" y="7854"/>
                    <a:pt x="11761" y="7583"/>
                    <a:pt x="12002" y="7313"/>
                  </a:cubicBezTo>
                  <a:cubicBezTo>
                    <a:pt x="12243" y="7042"/>
                    <a:pt x="12523" y="6829"/>
                    <a:pt x="12836" y="6694"/>
                  </a:cubicBezTo>
                  <a:cubicBezTo>
                    <a:pt x="13149" y="6558"/>
                    <a:pt x="13503" y="6488"/>
                    <a:pt x="13888" y="6488"/>
                  </a:cubicBezTo>
                  <a:lnTo>
                    <a:pt x="16960" y="6488"/>
                  </a:lnTo>
                  <a:lnTo>
                    <a:pt x="16960" y="9094"/>
                  </a:lnTo>
                  <a:cubicBezTo>
                    <a:pt x="16960" y="9211"/>
                    <a:pt x="17000" y="9309"/>
                    <a:pt x="17076" y="9394"/>
                  </a:cubicBezTo>
                  <a:cubicBezTo>
                    <a:pt x="17153" y="9480"/>
                    <a:pt x="17256" y="9525"/>
                    <a:pt x="17360" y="9525"/>
                  </a:cubicBezTo>
                  <a:cubicBezTo>
                    <a:pt x="17473" y="9525"/>
                    <a:pt x="17555" y="9475"/>
                    <a:pt x="17627" y="9394"/>
                  </a:cubicBezTo>
                  <a:lnTo>
                    <a:pt x="21483" y="5081"/>
                  </a:lnTo>
                  <a:cubicBezTo>
                    <a:pt x="21556" y="5000"/>
                    <a:pt x="21600" y="4889"/>
                    <a:pt x="21600" y="4763"/>
                  </a:cubicBezTo>
                  <a:cubicBezTo>
                    <a:pt x="21600" y="4637"/>
                    <a:pt x="21556" y="4526"/>
                    <a:pt x="21483" y="4444"/>
                  </a:cubicBezTo>
                  <a:lnTo>
                    <a:pt x="17644" y="131"/>
                  </a:lnTo>
                  <a:cubicBezTo>
                    <a:pt x="17547" y="40"/>
                    <a:pt x="17456" y="0"/>
                    <a:pt x="17360" y="0"/>
                  </a:cubicBezTo>
                  <a:close/>
                  <a:moveTo>
                    <a:pt x="401" y="3113"/>
                  </a:moveTo>
                  <a:cubicBezTo>
                    <a:pt x="288" y="3113"/>
                    <a:pt x="189" y="3163"/>
                    <a:pt x="117" y="3244"/>
                  </a:cubicBezTo>
                  <a:cubicBezTo>
                    <a:pt x="45" y="3325"/>
                    <a:pt x="0" y="3417"/>
                    <a:pt x="0" y="3544"/>
                  </a:cubicBezTo>
                  <a:lnTo>
                    <a:pt x="0" y="6150"/>
                  </a:lnTo>
                  <a:cubicBezTo>
                    <a:pt x="0" y="6276"/>
                    <a:pt x="45" y="6369"/>
                    <a:pt x="117" y="6450"/>
                  </a:cubicBezTo>
                  <a:cubicBezTo>
                    <a:pt x="189" y="6531"/>
                    <a:pt x="288" y="6581"/>
                    <a:pt x="401" y="6581"/>
                  </a:cubicBezTo>
                  <a:lnTo>
                    <a:pt x="3088" y="6581"/>
                  </a:lnTo>
                  <a:cubicBezTo>
                    <a:pt x="3441" y="6581"/>
                    <a:pt x="3772" y="6638"/>
                    <a:pt x="4073" y="6769"/>
                  </a:cubicBezTo>
                  <a:cubicBezTo>
                    <a:pt x="4375" y="6899"/>
                    <a:pt x="4619" y="7053"/>
                    <a:pt x="4824" y="7238"/>
                  </a:cubicBezTo>
                  <a:cubicBezTo>
                    <a:pt x="5028" y="7422"/>
                    <a:pt x="5237" y="7681"/>
                    <a:pt x="5442" y="8006"/>
                  </a:cubicBezTo>
                  <a:cubicBezTo>
                    <a:pt x="5646" y="8331"/>
                    <a:pt x="5805" y="8621"/>
                    <a:pt x="5926" y="8869"/>
                  </a:cubicBezTo>
                  <a:cubicBezTo>
                    <a:pt x="6046" y="9117"/>
                    <a:pt x="6200" y="9438"/>
                    <a:pt x="6377" y="9844"/>
                  </a:cubicBezTo>
                  <a:cubicBezTo>
                    <a:pt x="6994" y="8212"/>
                    <a:pt x="7547" y="6979"/>
                    <a:pt x="8029" y="6150"/>
                  </a:cubicBezTo>
                  <a:cubicBezTo>
                    <a:pt x="6744" y="4120"/>
                    <a:pt x="5095" y="3113"/>
                    <a:pt x="3088" y="3113"/>
                  </a:cubicBezTo>
                  <a:lnTo>
                    <a:pt x="401" y="3113"/>
                  </a:lnTo>
                  <a:close/>
                  <a:moveTo>
                    <a:pt x="10516" y="11831"/>
                  </a:moveTo>
                  <a:cubicBezTo>
                    <a:pt x="9898" y="13454"/>
                    <a:pt x="9354" y="14686"/>
                    <a:pt x="8880" y="15525"/>
                  </a:cubicBezTo>
                  <a:cubicBezTo>
                    <a:pt x="9097" y="15877"/>
                    <a:pt x="9315" y="16188"/>
                    <a:pt x="9548" y="16462"/>
                  </a:cubicBezTo>
                  <a:cubicBezTo>
                    <a:pt x="9781" y="16737"/>
                    <a:pt x="10006" y="16987"/>
                    <a:pt x="10216" y="17194"/>
                  </a:cubicBezTo>
                  <a:cubicBezTo>
                    <a:pt x="10424" y="17401"/>
                    <a:pt x="10669" y="17584"/>
                    <a:pt x="10934" y="17737"/>
                  </a:cubicBezTo>
                  <a:cubicBezTo>
                    <a:pt x="11198" y="17891"/>
                    <a:pt x="11417" y="18009"/>
                    <a:pt x="11618" y="18112"/>
                  </a:cubicBezTo>
                  <a:cubicBezTo>
                    <a:pt x="11819" y="18216"/>
                    <a:pt x="12081" y="18293"/>
                    <a:pt x="12386" y="18356"/>
                  </a:cubicBezTo>
                  <a:cubicBezTo>
                    <a:pt x="12691" y="18419"/>
                    <a:pt x="12945" y="18474"/>
                    <a:pt x="13154" y="18506"/>
                  </a:cubicBezTo>
                  <a:cubicBezTo>
                    <a:pt x="13362" y="18538"/>
                    <a:pt x="13643" y="18567"/>
                    <a:pt x="14005" y="18581"/>
                  </a:cubicBezTo>
                  <a:cubicBezTo>
                    <a:pt x="14367" y="18594"/>
                    <a:pt x="14664" y="18586"/>
                    <a:pt x="14890" y="18581"/>
                  </a:cubicBezTo>
                  <a:cubicBezTo>
                    <a:pt x="15114" y="18577"/>
                    <a:pt x="15432" y="18585"/>
                    <a:pt x="15858" y="18581"/>
                  </a:cubicBezTo>
                  <a:cubicBezTo>
                    <a:pt x="16283" y="18576"/>
                    <a:pt x="16636" y="18562"/>
                    <a:pt x="16893" y="18562"/>
                  </a:cubicBezTo>
                  <a:lnTo>
                    <a:pt x="16893" y="21169"/>
                  </a:lnTo>
                  <a:cubicBezTo>
                    <a:pt x="16893" y="21286"/>
                    <a:pt x="16934" y="21384"/>
                    <a:pt x="17010" y="21469"/>
                  </a:cubicBezTo>
                  <a:cubicBezTo>
                    <a:pt x="17086" y="21555"/>
                    <a:pt x="17172" y="21600"/>
                    <a:pt x="17277" y="21600"/>
                  </a:cubicBezTo>
                  <a:cubicBezTo>
                    <a:pt x="17389" y="21600"/>
                    <a:pt x="17472" y="21550"/>
                    <a:pt x="17544" y="21469"/>
                  </a:cubicBezTo>
                  <a:lnTo>
                    <a:pt x="21400" y="17156"/>
                  </a:lnTo>
                  <a:cubicBezTo>
                    <a:pt x="21472" y="17075"/>
                    <a:pt x="21517" y="16964"/>
                    <a:pt x="21517" y="16837"/>
                  </a:cubicBezTo>
                  <a:cubicBezTo>
                    <a:pt x="21517" y="16711"/>
                    <a:pt x="21473" y="16600"/>
                    <a:pt x="21400" y="16519"/>
                  </a:cubicBezTo>
                  <a:cubicBezTo>
                    <a:pt x="21400" y="16519"/>
                    <a:pt x="17560" y="12206"/>
                    <a:pt x="17560" y="12206"/>
                  </a:cubicBezTo>
                  <a:cubicBezTo>
                    <a:pt x="17464" y="12115"/>
                    <a:pt x="17373" y="12075"/>
                    <a:pt x="17277" y="12075"/>
                  </a:cubicBezTo>
                  <a:cubicBezTo>
                    <a:pt x="17164" y="12075"/>
                    <a:pt x="17064" y="12107"/>
                    <a:pt x="16993" y="12187"/>
                  </a:cubicBezTo>
                  <a:cubicBezTo>
                    <a:pt x="16921" y="12269"/>
                    <a:pt x="16893" y="12380"/>
                    <a:pt x="16893" y="12506"/>
                  </a:cubicBezTo>
                  <a:lnTo>
                    <a:pt x="16893" y="15112"/>
                  </a:lnTo>
                  <a:lnTo>
                    <a:pt x="13805" y="15112"/>
                  </a:lnTo>
                  <a:cubicBezTo>
                    <a:pt x="13451" y="15112"/>
                    <a:pt x="13121" y="15038"/>
                    <a:pt x="12820" y="14906"/>
                  </a:cubicBezTo>
                  <a:cubicBezTo>
                    <a:pt x="12519" y="14775"/>
                    <a:pt x="12273" y="14623"/>
                    <a:pt x="12069" y="14437"/>
                  </a:cubicBezTo>
                  <a:cubicBezTo>
                    <a:pt x="11864" y="14253"/>
                    <a:pt x="11656" y="13994"/>
                    <a:pt x="11451" y="13669"/>
                  </a:cubicBezTo>
                  <a:cubicBezTo>
                    <a:pt x="11246" y="13344"/>
                    <a:pt x="11087" y="13054"/>
                    <a:pt x="10967" y="12806"/>
                  </a:cubicBezTo>
                  <a:cubicBezTo>
                    <a:pt x="10846" y="12558"/>
                    <a:pt x="10692" y="12236"/>
                    <a:pt x="10516" y="11831"/>
                  </a:cubicBezTo>
                  <a:close/>
                </a:path>
              </a:pathLst>
            </a:custGeom>
            <a:solidFill>
              <a:srgbClr val="FFFFFF"/>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grpSp>
      <p:grpSp>
        <p:nvGrpSpPr>
          <p:cNvPr id="10" name="组合 9"/>
          <p:cNvGrpSpPr/>
          <p:nvPr/>
        </p:nvGrpSpPr>
        <p:grpSpPr>
          <a:xfrm>
            <a:off x="2117425" y="2585333"/>
            <a:ext cx="734512" cy="734512"/>
            <a:chOff x="1847958" y="3073551"/>
            <a:chExt cx="734512" cy="734512"/>
          </a:xfrm>
        </p:grpSpPr>
        <p:sp>
          <p:nvSpPr>
            <p:cNvPr id="26" name="任意多边形 17"/>
            <p:cNvSpPr/>
            <p:nvPr/>
          </p:nvSpPr>
          <p:spPr>
            <a:xfrm>
              <a:off x="1847958" y="3073551"/>
              <a:ext cx="734512" cy="73451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2">
                <a:lumMod val="100000"/>
              </a:schemeClr>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27" name="任意多边形 18"/>
            <p:cNvSpPr/>
            <p:nvPr/>
          </p:nvSpPr>
          <p:spPr>
            <a:xfrm>
              <a:off x="2087611" y="3308595"/>
              <a:ext cx="255206" cy="264425"/>
            </a:xfrm>
            <a:custGeom>
              <a:avLst/>
              <a:gdLst/>
              <a:ahLst/>
              <a:cxnLst>
                <a:cxn ang="0">
                  <a:pos x="wd2" y="hd2"/>
                </a:cxn>
                <a:cxn ang="5400000">
                  <a:pos x="wd2" y="hd2"/>
                </a:cxn>
                <a:cxn ang="10800000">
                  <a:pos x="wd2" y="hd2"/>
                </a:cxn>
                <a:cxn ang="16200000">
                  <a:pos x="wd2" y="hd2"/>
                </a:cxn>
              </a:cxnLst>
              <a:rect l="0" t="0" r="r" b="b"/>
              <a:pathLst>
                <a:path w="21600" h="21600" extrusionOk="0">
                  <a:moveTo>
                    <a:pt x="21022" y="1765"/>
                  </a:moveTo>
                  <a:cubicBezTo>
                    <a:pt x="21407" y="1393"/>
                    <a:pt x="21600" y="1056"/>
                    <a:pt x="21600" y="753"/>
                  </a:cubicBezTo>
                  <a:cubicBezTo>
                    <a:pt x="21600" y="554"/>
                    <a:pt x="21519" y="396"/>
                    <a:pt x="21358" y="279"/>
                  </a:cubicBezTo>
                  <a:cubicBezTo>
                    <a:pt x="21196" y="163"/>
                    <a:pt x="21026" y="86"/>
                    <a:pt x="20847" y="52"/>
                  </a:cubicBezTo>
                  <a:cubicBezTo>
                    <a:pt x="20667" y="17"/>
                    <a:pt x="20475" y="0"/>
                    <a:pt x="20268" y="0"/>
                  </a:cubicBezTo>
                  <a:lnTo>
                    <a:pt x="1332" y="0"/>
                  </a:lnTo>
                  <a:cubicBezTo>
                    <a:pt x="1125" y="0"/>
                    <a:pt x="933" y="17"/>
                    <a:pt x="753" y="52"/>
                  </a:cubicBezTo>
                  <a:cubicBezTo>
                    <a:pt x="574" y="86"/>
                    <a:pt x="404" y="163"/>
                    <a:pt x="242" y="279"/>
                  </a:cubicBezTo>
                  <a:cubicBezTo>
                    <a:pt x="81" y="396"/>
                    <a:pt x="0" y="554"/>
                    <a:pt x="0" y="753"/>
                  </a:cubicBezTo>
                  <a:cubicBezTo>
                    <a:pt x="0" y="1056"/>
                    <a:pt x="193" y="1393"/>
                    <a:pt x="578" y="1765"/>
                  </a:cubicBezTo>
                  <a:lnTo>
                    <a:pt x="9079" y="9970"/>
                  </a:lnTo>
                  <a:lnTo>
                    <a:pt x="9079" y="19938"/>
                  </a:lnTo>
                  <a:lnTo>
                    <a:pt x="4774" y="19938"/>
                  </a:lnTo>
                  <a:cubicBezTo>
                    <a:pt x="4541" y="19938"/>
                    <a:pt x="4340" y="20021"/>
                    <a:pt x="4169" y="20186"/>
                  </a:cubicBezTo>
                  <a:cubicBezTo>
                    <a:pt x="3999" y="20350"/>
                    <a:pt x="3913" y="20545"/>
                    <a:pt x="3913" y="20769"/>
                  </a:cubicBezTo>
                  <a:cubicBezTo>
                    <a:pt x="3913" y="20994"/>
                    <a:pt x="3999" y="21189"/>
                    <a:pt x="4169" y="21353"/>
                  </a:cubicBezTo>
                  <a:cubicBezTo>
                    <a:pt x="4340" y="21518"/>
                    <a:pt x="4541" y="21600"/>
                    <a:pt x="4774" y="21600"/>
                  </a:cubicBezTo>
                  <a:lnTo>
                    <a:pt x="16826" y="21600"/>
                  </a:lnTo>
                  <a:cubicBezTo>
                    <a:pt x="17059" y="21600"/>
                    <a:pt x="17260" y="21518"/>
                    <a:pt x="17431" y="21353"/>
                  </a:cubicBezTo>
                  <a:cubicBezTo>
                    <a:pt x="17601" y="21189"/>
                    <a:pt x="17687" y="20994"/>
                    <a:pt x="17687" y="20769"/>
                  </a:cubicBezTo>
                  <a:cubicBezTo>
                    <a:pt x="17687" y="20545"/>
                    <a:pt x="17601" y="20350"/>
                    <a:pt x="17431" y="20186"/>
                  </a:cubicBezTo>
                  <a:cubicBezTo>
                    <a:pt x="17260" y="20021"/>
                    <a:pt x="17059" y="19938"/>
                    <a:pt x="16826" y="19938"/>
                  </a:cubicBezTo>
                  <a:lnTo>
                    <a:pt x="12522" y="19938"/>
                  </a:lnTo>
                  <a:lnTo>
                    <a:pt x="12522" y="9970"/>
                  </a:lnTo>
                  <a:cubicBezTo>
                    <a:pt x="12522" y="9970"/>
                    <a:pt x="21022" y="1765"/>
                    <a:pt x="21022" y="1765"/>
                  </a:cubicBezTo>
                  <a:close/>
                </a:path>
              </a:pathLst>
            </a:custGeom>
            <a:solidFill>
              <a:srgbClr val="FFFFFF"/>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grpSp>
      <p:grpSp>
        <p:nvGrpSpPr>
          <p:cNvPr id="11" name="组合 10"/>
          <p:cNvGrpSpPr/>
          <p:nvPr/>
        </p:nvGrpSpPr>
        <p:grpSpPr>
          <a:xfrm>
            <a:off x="2117419" y="3571410"/>
            <a:ext cx="734512" cy="734512"/>
            <a:chOff x="1847958" y="4328236"/>
            <a:chExt cx="734512" cy="734512"/>
          </a:xfrm>
        </p:grpSpPr>
        <p:sp>
          <p:nvSpPr>
            <p:cNvPr id="24" name="任意多边形 15"/>
            <p:cNvSpPr/>
            <p:nvPr/>
          </p:nvSpPr>
          <p:spPr>
            <a:xfrm>
              <a:off x="1847958" y="4328236"/>
              <a:ext cx="734512" cy="73451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3">
                <a:lumMod val="100000"/>
              </a:schemeClr>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25" name="任意多边形 16"/>
            <p:cNvSpPr/>
            <p:nvPr/>
          </p:nvSpPr>
          <p:spPr>
            <a:xfrm>
              <a:off x="2096539" y="4564580"/>
              <a:ext cx="239635" cy="261670"/>
            </a:xfrm>
            <a:custGeom>
              <a:avLst/>
              <a:gdLst/>
              <a:ahLst/>
              <a:cxnLst>
                <a:cxn ang="0">
                  <a:pos x="wd2" y="hd2"/>
                </a:cxn>
                <a:cxn ang="5400000">
                  <a:pos x="wd2" y="hd2"/>
                </a:cxn>
                <a:cxn ang="10800000">
                  <a:pos x="wd2" y="hd2"/>
                </a:cxn>
                <a:cxn ang="16200000">
                  <a:pos x="wd2" y="hd2"/>
                </a:cxn>
              </a:cxnLst>
              <a:rect l="0" t="0" r="r" b="b"/>
              <a:pathLst>
                <a:path w="21600" h="21600" extrusionOk="0">
                  <a:moveTo>
                    <a:pt x="10593" y="0"/>
                  </a:moveTo>
                  <a:cubicBezTo>
                    <a:pt x="8967" y="0"/>
                    <a:pt x="7584" y="538"/>
                    <a:pt x="6434" y="1592"/>
                  </a:cubicBezTo>
                  <a:cubicBezTo>
                    <a:pt x="5285" y="2645"/>
                    <a:pt x="4717" y="3911"/>
                    <a:pt x="4717" y="5400"/>
                  </a:cubicBezTo>
                  <a:cubicBezTo>
                    <a:pt x="4717" y="6889"/>
                    <a:pt x="5285" y="8155"/>
                    <a:pt x="6434" y="9208"/>
                  </a:cubicBezTo>
                  <a:cubicBezTo>
                    <a:pt x="7584" y="10262"/>
                    <a:pt x="8967" y="10800"/>
                    <a:pt x="10593" y="10800"/>
                  </a:cubicBezTo>
                  <a:cubicBezTo>
                    <a:pt x="12219" y="10800"/>
                    <a:pt x="13602" y="10262"/>
                    <a:pt x="14752" y="9208"/>
                  </a:cubicBezTo>
                  <a:cubicBezTo>
                    <a:pt x="15903" y="8155"/>
                    <a:pt x="16490" y="6889"/>
                    <a:pt x="16490" y="5400"/>
                  </a:cubicBezTo>
                  <a:cubicBezTo>
                    <a:pt x="16490" y="3911"/>
                    <a:pt x="15903" y="2645"/>
                    <a:pt x="14752" y="1592"/>
                  </a:cubicBezTo>
                  <a:cubicBezTo>
                    <a:pt x="13602" y="538"/>
                    <a:pt x="12219" y="0"/>
                    <a:pt x="10593" y="0"/>
                  </a:cubicBezTo>
                  <a:close/>
                  <a:moveTo>
                    <a:pt x="5317" y="9928"/>
                  </a:moveTo>
                  <a:cubicBezTo>
                    <a:pt x="4693" y="9928"/>
                    <a:pt x="4117" y="10007"/>
                    <a:pt x="3600" y="10194"/>
                  </a:cubicBezTo>
                  <a:cubicBezTo>
                    <a:pt x="3084" y="10381"/>
                    <a:pt x="2654" y="10638"/>
                    <a:pt x="2297" y="10952"/>
                  </a:cubicBezTo>
                  <a:cubicBezTo>
                    <a:pt x="1938" y="11265"/>
                    <a:pt x="1622" y="11644"/>
                    <a:pt x="1345" y="12088"/>
                  </a:cubicBezTo>
                  <a:cubicBezTo>
                    <a:pt x="1069" y="12534"/>
                    <a:pt x="846" y="12984"/>
                    <a:pt x="683" y="13453"/>
                  </a:cubicBezTo>
                  <a:cubicBezTo>
                    <a:pt x="519" y="13921"/>
                    <a:pt x="376" y="14439"/>
                    <a:pt x="269" y="14987"/>
                  </a:cubicBezTo>
                  <a:cubicBezTo>
                    <a:pt x="161" y="15535"/>
                    <a:pt x="98" y="16049"/>
                    <a:pt x="62" y="16522"/>
                  </a:cubicBezTo>
                  <a:cubicBezTo>
                    <a:pt x="26" y="16995"/>
                    <a:pt x="0" y="17465"/>
                    <a:pt x="0" y="17962"/>
                  </a:cubicBezTo>
                  <a:cubicBezTo>
                    <a:pt x="0" y="19085"/>
                    <a:pt x="371" y="19983"/>
                    <a:pt x="1117" y="20634"/>
                  </a:cubicBezTo>
                  <a:cubicBezTo>
                    <a:pt x="1865" y="21284"/>
                    <a:pt x="2859" y="21600"/>
                    <a:pt x="4097" y="21600"/>
                  </a:cubicBezTo>
                  <a:lnTo>
                    <a:pt x="17503" y="21600"/>
                  </a:lnTo>
                  <a:cubicBezTo>
                    <a:pt x="18740" y="21600"/>
                    <a:pt x="19736" y="21284"/>
                    <a:pt x="20483" y="20634"/>
                  </a:cubicBezTo>
                  <a:cubicBezTo>
                    <a:pt x="21229" y="19983"/>
                    <a:pt x="21600" y="19085"/>
                    <a:pt x="21600" y="17962"/>
                  </a:cubicBezTo>
                  <a:cubicBezTo>
                    <a:pt x="21600" y="17465"/>
                    <a:pt x="21573" y="16995"/>
                    <a:pt x="21538" y="16522"/>
                  </a:cubicBezTo>
                  <a:cubicBezTo>
                    <a:pt x="21502" y="16049"/>
                    <a:pt x="21438" y="15535"/>
                    <a:pt x="21331" y="14987"/>
                  </a:cubicBezTo>
                  <a:cubicBezTo>
                    <a:pt x="21223" y="14439"/>
                    <a:pt x="21081" y="13921"/>
                    <a:pt x="20917" y="13453"/>
                  </a:cubicBezTo>
                  <a:cubicBezTo>
                    <a:pt x="20754" y="12985"/>
                    <a:pt x="20531" y="12534"/>
                    <a:pt x="20255" y="12088"/>
                  </a:cubicBezTo>
                  <a:cubicBezTo>
                    <a:pt x="19978" y="11644"/>
                    <a:pt x="19662" y="11265"/>
                    <a:pt x="19303" y="10952"/>
                  </a:cubicBezTo>
                  <a:cubicBezTo>
                    <a:pt x="18946" y="10638"/>
                    <a:pt x="18517" y="10381"/>
                    <a:pt x="18000" y="10194"/>
                  </a:cubicBezTo>
                  <a:cubicBezTo>
                    <a:pt x="17484" y="10007"/>
                    <a:pt x="16906" y="9928"/>
                    <a:pt x="16283" y="9928"/>
                  </a:cubicBezTo>
                  <a:cubicBezTo>
                    <a:pt x="16181" y="9928"/>
                    <a:pt x="15959" y="10011"/>
                    <a:pt x="15621" y="10213"/>
                  </a:cubicBezTo>
                  <a:cubicBezTo>
                    <a:pt x="15283" y="10414"/>
                    <a:pt x="14913" y="10647"/>
                    <a:pt x="14503" y="10895"/>
                  </a:cubicBezTo>
                  <a:cubicBezTo>
                    <a:pt x="14094" y="11143"/>
                    <a:pt x="13555" y="11376"/>
                    <a:pt x="12869" y="11577"/>
                  </a:cubicBezTo>
                  <a:cubicBezTo>
                    <a:pt x="12183" y="11778"/>
                    <a:pt x="11496" y="11880"/>
                    <a:pt x="10800" y="11880"/>
                  </a:cubicBezTo>
                  <a:cubicBezTo>
                    <a:pt x="10105" y="11880"/>
                    <a:pt x="9416" y="11778"/>
                    <a:pt x="8731" y="11577"/>
                  </a:cubicBezTo>
                  <a:cubicBezTo>
                    <a:pt x="8045" y="11376"/>
                    <a:pt x="7506" y="11143"/>
                    <a:pt x="7097" y="10895"/>
                  </a:cubicBezTo>
                  <a:cubicBezTo>
                    <a:pt x="6687" y="10647"/>
                    <a:pt x="6296" y="10414"/>
                    <a:pt x="5959" y="10213"/>
                  </a:cubicBezTo>
                  <a:cubicBezTo>
                    <a:pt x="5621" y="10011"/>
                    <a:pt x="5419" y="9928"/>
                    <a:pt x="5317" y="9928"/>
                  </a:cubicBezTo>
                  <a:close/>
                </a:path>
              </a:pathLst>
            </a:custGeom>
            <a:solidFill>
              <a:srgbClr val="FFFFFF"/>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grpSp>
      <p:grpSp>
        <p:nvGrpSpPr>
          <p:cNvPr id="12" name="组合 11"/>
          <p:cNvGrpSpPr/>
          <p:nvPr/>
        </p:nvGrpSpPr>
        <p:grpSpPr>
          <a:xfrm>
            <a:off x="2117419" y="4557487"/>
            <a:ext cx="734512" cy="734512"/>
            <a:chOff x="1847958" y="4328236"/>
            <a:chExt cx="734512" cy="734512"/>
          </a:xfrm>
        </p:grpSpPr>
        <p:sp>
          <p:nvSpPr>
            <p:cNvPr id="22" name="任意多边形 27"/>
            <p:cNvSpPr/>
            <p:nvPr/>
          </p:nvSpPr>
          <p:spPr>
            <a:xfrm>
              <a:off x="1847958" y="4328236"/>
              <a:ext cx="734512" cy="73451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4">
                <a:lumMod val="100000"/>
              </a:schemeClr>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sp>
          <p:nvSpPr>
            <p:cNvPr id="23" name="任意多边形 28"/>
            <p:cNvSpPr/>
            <p:nvPr/>
          </p:nvSpPr>
          <p:spPr>
            <a:xfrm>
              <a:off x="2085522" y="4564580"/>
              <a:ext cx="261670" cy="261670"/>
            </a:xfrm>
            <a:custGeom>
              <a:avLst/>
              <a:gdLst>
                <a:gd name="connsiteX0" fmla="*/ 127000 w 338138"/>
                <a:gd name="connsiteY0" fmla="*/ 274638 h 338138"/>
                <a:gd name="connsiteX1" fmla="*/ 211138 w 338138"/>
                <a:gd name="connsiteY1" fmla="*/ 274638 h 338138"/>
                <a:gd name="connsiteX2" fmla="*/ 211138 w 338138"/>
                <a:gd name="connsiteY2" fmla="*/ 295805 h 338138"/>
                <a:gd name="connsiteX3" fmla="*/ 169069 w 338138"/>
                <a:gd name="connsiteY3" fmla="*/ 338138 h 338138"/>
                <a:gd name="connsiteX4" fmla="*/ 127000 w 338138"/>
                <a:gd name="connsiteY4" fmla="*/ 295805 h 338138"/>
                <a:gd name="connsiteX5" fmla="*/ 169070 w 338138"/>
                <a:gd name="connsiteY5" fmla="*/ 42863 h 338138"/>
                <a:gd name="connsiteX6" fmla="*/ 84138 w 338138"/>
                <a:gd name="connsiteY6" fmla="*/ 127000 h 338138"/>
                <a:gd name="connsiteX7" fmla="*/ 84138 w 338138"/>
                <a:gd name="connsiteY7" fmla="*/ 211138 h 338138"/>
                <a:gd name="connsiteX8" fmla="*/ 254001 w 338138"/>
                <a:gd name="connsiteY8" fmla="*/ 211138 h 338138"/>
                <a:gd name="connsiteX9" fmla="*/ 254001 w 338138"/>
                <a:gd name="connsiteY9" fmla="*/ 127000 h 338138"/>
                <a:gd name="connsiteX10" fmla="*/ 169070 w 338138"/>
                <a:gd name="connsiteY10" fmla="*/ 42863 h 338138"/>
                <a:gd name="connsiteX11" fmla="*/ 169069 w 338138"/>
                <a:gd name="connsiteY11" fmla="*/ 0 h 338138"/>
                <a:gd name="connsiteX12" fmla="*/ 295871 w 338138"/>
                <a:gd name="connsiteY12" fmla="*/ 127000 h 338138"/>
                <a:gd name="connsiteX13" fmla="*/ 295871 w 338138"/>
                <a:gd name="connsiteY13" fmla="*/ 211667 h 338138"/>
                <a:gd name="connsiteX14" fmla="*/ 317005 w 338138"/>
                <a:gd name="connsiteY14" fmla="*/ 211667 h 338138"/>
                <a:gd name="connsiteX15" fmla="*/ 338138 w 338138"/>
                <a:gd name="connsiteY15" fmla="*/ 232833 h 338138"/>
                <a:gd name="connsiteX16" fmla="*/ 317005 w 338138"/>
                <a:gd name="connsiteY16" fmla="*/ 254000 h 338138"/>
                <a:gd name="connsiteX17" fmla="*/ 21133 w 338138"/>
                <a:gd name="connsiteY17" fmla="*/ 254000 h 338138"/>
                <a:gd name="connsiteX18" fmla="*/ 0 w 338138"/>
                <a:gd name="connsiteY18" fmla="*/ 232833 h 338138"/>
                <a:gd name="connsiteX19" fmla="*/ 21133 w 338138"/>
                <a:gd name="connsiteY19" fmla="*/ 211667 h 338138"/>
                <a:gd name="connsiteX20" fmla="*/ 42267 w 338138"/>
                <a:gd name="connsiteY20" fmla="*/ 211667 h 338138"/>
                <a:gd name="connsiteX21" fmla="*/ 42267 w 338138"/>
                <a:gd name="connsiteY21" fmla="*/ 127000 h 338138"/>
                <a:gd name="connsiteX22" fmla="*/ 169069 w 338138"/>
                <a:gd name="connsiteY22"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8138" h="338138">
                  <a:moveTo>
                    <a:pt x="127000" y="274638"/>
                  </a:moveTo>
                  <a:cubicBezTo>
                    <a:pt x="127000" y="274638"/>
                    <a:pt x="127000" y="274638"/>
                    <a:pt x="211138" y="274638"/>
                  </a:cubicBezTo>
                  <a:cubicBezTo>
                    <a:pt x="211138" y="274638"/>
                    <a:pt x="211138" y="274638"/>
                    <a:pt x="211138" y="295805"/>
                  </a:cubicBezTo>
                  <a:cubicBezTo>
                    <a:pt x="211138" y="319617"/>
                    <a:pt x="192733" y="338138"/>
                    <a:pt x="169069" y="338138"/>
                  </a:cubicBezTo>
                  <a:cubicBezTo>
                    <a:pt x="145405" y="338138"/>
                    <a:pt x="127000" y="319617"/>
                    <a:pt x="127000" y="295805"/>
                  </a:cubicBezTo>
                  <a:close/>
                  <a:moveTo>
                    <a:pt x="169070" y="42863"/>
                  </a:moveTo>
                  <a:cubicBezTo>
                    <a:pt x="122622" y="42863"/>
                    <a:pt x="84138" y="80988"/>
                    <a:pt x="84138" y="127000"/>
                  </a:cubicBezTo>
                  <a:cubicBezTo>
                    <a:pt x="84138" y="127000"/>
                    <a:pt x="84138" y="127000"/>
                    <a:pt x="84138" y="211138"/>
                  </a:cubicBezTo>
                  <a:cubicBezTo>
                    <a:pt x="84138" y="211138"/>
                    <a:pt x="84138" y="211138"/>
                    <a:pt x="254001" y="211138"/>
                  </a:cubicBezTo>
                  <a:lnTo>
                    <a:pt x="254001" y="127000"/>
                  </a:lnTo>
                  <a:cubicBezTo>
                    <a:pt x="254001" y="80988"/>
                    <a:pt x="215517" y="42863"/>
                    <a:pt x="169070" y="42863"/>
                  </a:cubicBezTo>
                  <a:close/>
                  <a:moveTo>
                    <a:pt x="169069" y="0"/>
                  </a:moveTo>
                  <a:cubicBezTo>
                    <a:pt x="239074" y="0"/>
                    <a:pt x="295871" y="56885"/>
                    <a:pt x="295871" y="127000"/>
                  </a:cubicBezTo>
                  <a:cubicBezTo>
                    <a:pt x="295871" y="127000"/>
                    <a:pt x="295871" y="127000"/>
                    <a:pt x="295871" y="211667"/>
                  </a:cubicBezTo>
                  <a:cubicBezTo>
                    <a:pt x="295871" y="211667"/>
                    <a:pt x="295871" y="211667"/>
                    <a:pt x="317005" y="211667"/>
                  </a:cubicBezTo>
                  <a:cubicBezTo>
                    <a:pt x="328892" y="211667"/>
                    <a:pt x="338138" y="220927"/>
                    <a:pt x="338138" y="232833"/>
                  </a:cubicBezTo>
                  <a:cubicBezTo>
                    <a:pt x="338138" y="244739"/>
                    <a:pt x="328892" y="254000"/>
                    <a:pt x="317005" y="254000"/>
                  </a:cubicBezTo>
                  <a:cubicBezTo>
                    <a:pt x="317005" y="254000"/>
                    <a:pt x="317005" y="254000"/>
                    <a:pt x="21133" y="254000"/>
                  </a:cubicBezTo>
                  <a:cubicBezTo>
                    <a:pt x="9246" y="254000"/>
                    <a:pt x="0" y="244739"/>
                    <a:pt x="0" y="232833"/>
                  </a:cubicBezTo>
                  <a:cubicBezTo>
                    <a:pt x="0" y="220927"/>
                    <a:pt x="9246" y="211667"/>
                    <a:pt x="21133" y="211667"/>
                  </a:cubicBezTo>
                  <a:cubicBezTo>
                    <a:pt x="21133" y="211667"/>
                    <a:pt x="21133" y="211667"/>
                    <a:pt x="42267" y="211667"/>
                  </a:cubicBezTo>
                  <a:cubicBezTo>
                    <a:pt x="42267" y="211667"/>
                    <a:pt x="42267" y="211667"/>
                    <a:pt x="42267" y="127000"/>
                  </a:cubicBezTo>
                  <a:cubicBezTo>
                    <a:pt x="42267" y="56885"/>
                    <a:pt x="99064" y="0"/>
                    <a:pt x="169069" y="0"/>
                  </a:cubicBezTo>
                  <a:close/>
                </a:path>
              </a:pathLst>
            </a:custGeom>
            <a:solidFill>
              <a:srgbClr val="FFFFFF"/>
            </a:solidFill>
            <a:ln w="12700">
              <a:miter lim="400000"/>
            </a:ln>
          </p:spPr>
          <p:txBody>
            <a:bodyPr anchor="ctr"/>
            <a:lstStyle/>
            <a:p>
              <a:pPr algn="ctr"/>
              <a:endParaRPr>
                <a:latin typeface="Source Han Sans HW SC" panose="020F0502020204030204"/>
                <a:ea typeface="庞门正道标题体" panose="02010600030101010101" pitchFamily="2" charset="-122"/>
                <a:sym typeface="Source Han Sans HW SC" panose="020F0502020204030204"/>
              </a:endParaRPr>
            </a:p>
          </p:txBody>
        </p:sp>
      </p:grpSp>
      <p:sp>
        <p:nvSpPr>
          <p:cNvPr id="43" name="išľíďè"/>
          <p:cNvSpPr/>
          <p:nvPr/>
        </p:nvSpPr>
        <p:spPr bwMode="auto">
          <a:xfrm>
            <a:off x="3070671" y="2041385"/>
            <a:ext cx="289541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44" name="iSlíďè"/>
          <p:cNvSpPr txBox="1"/>
          <p:nvPr/>
        </p:nvSpPr>
        <p:spPr bwMode="auto">
          <a:xfrm>
            <a:off x="3069316" y="1700299"/>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45" name="išľíďè"/>
          <p:cNvSpPr/>
          <p:nvPr/>
        </p:nvSpPr>
        <p:spPr bwMode="auto">
          <a:xfrm>
            <a:off x="3070671" y="3004555"/>
            <a:ext cx="289541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46" name="iSlíďè"/>
          <p:cNvSpPr txBox="1"/>
          <p:nvPr/>
        </p:nvSpPr>
        <p:spPr bwMode="auto">
          <a:xfrm>
            <a:off x="3069316" y="2663469"/>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47" name="išľíďè"/>
          <p:cNvSpPr/>
          <p:nvPr/>
        </p:nvSpPr>
        <p:spPr bwMode="auto">
          <a:xfrm>
            <a:off x="3070671" y="3938664"/>
            <a:ext cx="289541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48" name="iSlíďè"/>
          <p:cNvSpPr txBox="1"/>
          <p:nvPr/>
        </p:nvSpPr>
        <p:spPr bwMode="auto">
          <a:xfrm>
            <a:off x="3069316" y="3597578"/>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49" name="išľíďè"/>
          <p:cNvSpPr/>
          <p:nvPr/>
        </p:nvSpPr>
        <p:spPr bwMode="auto">
          <a:xfrm>
            <a:off x="3070671" y="4898573"/>
            <a:ext cx="2895413"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50" name="iSlíďè"/>
          <p:cNvSpPr txBox="1"/>
          <p:nvPr/>
        </p:nvSpPr>
        <p:spPr bwMode="auto">
          <a:xfrm>
            <a:off x="3069316" y="4557487"/>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600" advClick="0" advTm="2000">
        <p14:prism isInverted="1"/>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wipe(down)">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grpId="0" nodeType="click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wipe(down)">
                                      <p:cBhvr>
                                        <p:cTn id="18" dur="500"/>
                                        <p:tgtEl>
                                          <p:spTgt spid="4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down)">
                                      <p:cBhvr>
                                        <p:cTn id="23" dur="500"/>
                                        <p:tgtEl>
                                          <p:spTgt spid="4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wipe(down)">
                                      <p:cBhvr>
                                        <p:cTn id="28" dur="500"/>
                                        <p:tgtEl>
                                          <p:spTgt spid="45"/>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wipe(down)">
                                      <p:cBhvr>
                                        <p:cTn id="33" dur="500"/>
                                        <p:tgtEl>
                                          <p:spTgt spid="48"/>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47"/>
                                        </p:tgtEl>
                                        <p:attrNameLst>
                                          <p:attrName>style.visibility</p:attrName>
                                        </p:attrNameLst>
                                      </p:cBhvr>
                                      <p:to>
                                        <p:strVal val="visible"/>
                                      </p:to>
                                    </p:set>
                                    <p:animEffect transition="in" filter="wipe(down)">
                                      <p:cBhvr>
                                        <p:cTn id="38" dur="500"/>
                                        <p:tgtEl>
                                          <p:spTgt spid="47"/>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4"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animEffect transition="in" filter="wipe(down)">
                                      <p:cBhvr>
                                        <p:cTn id="43" dur="500"/>
                                        <p:tgtEl>
                                          <p:spTgt spid="50"/>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4" fill="hold" grpId="0" nodeType="clickEffect">
                                  <p:stCondLst>
                                    <p:cond delay="0"/>
                                  </p:stCondLst>
                                  <p:childTnLst>
                                    <p:set>
                                      <p:cBhvr>
                                        <p:cTn id="47" dur="1" fill="hold">
                                          <p:stCondLst>
                                            <p:cond delay="0"/>
                                          </p:stCondLst>
                                        </p:cTn>
                                        <p:tgtEl>
                                          <p:spTgt spid="49"/>
                                        </p:tgtEl>
                                        <p:attrNameLst>
                                          <p:attrName>style.visibility</p:attrName>
                                        </p:attrNameLst>
                                      </p:cBhvr>
                                      <p:to>
                                        <p:strVal val="visible"/>
                                      </p:to>
                                    </p:set>
                                    <p:animEffect transition="in" filter="wipe(down)">
                                      <p:cBhvr>
                                        <p:cTn id="48"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P spid="44" grpId="0"/>
      <p:bldP spid="45" grpId="0"/>
      <p:bldP spid="46" grpId="0"/>
      <p:bldP spid="47" grpId="0"/>
      <p:bldP spid="48" grpId="0"/>
      <p:bldP spid="49" grpId="0"/>
      <p:bldP spid="50"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3011488" y="2226945"/>
            <a:ext cx="5905500" cy="1420495"/>
          </a:xfrm>
          <a:prstGeom prst="rect">
            <a:avLst/>
          </a:prstGeom>
          <a:noFill/>
        </p:spPr>
        <p:txBody>
          <a:bodyPr wrap="none" rtlCol="0" anchor="t">
            <a:spAutoFit/>
          </a:bodyPr>
          <a:lstStyle/>
          <a:p>
            <a:pPr algn="ctr">
              <a:lnSpc>
                <a:spcPct val="120000"/>
              </a:lnSpc>
              <a:defRPr/>
            </a:pPr>
            <a:r>
              <a:rPr lang="zh-CN" altLang="en-US" sz="7200" b="1" spc="300">
                <a:solidFill>
                  <a:schemeClr val="bg1"/>
                </a:solidFill>
                <a:latin typeface="思源黑体 CN Regular" panose="020B0500000000000000" charset="-122"/>
                <a:ea typeface="思源黑体 CN Regular" panose="020B0500000000000000" charset="-122"/>
                <a:cs typeface="+mn-ea"/>
                <a:sym typeface="Century Gothic" panose="020B0502020202020204" pitchFamily="34" charset="0"/>
              </a:rPr>
              <a:t>总体工作概述</a:t>
            </a:r>
          </a:p>
        </p:txBody>
      </p:sp>
      <p:sp>
        <p:nvSpPr>
          <p:cNvPr id="3" name="泪滴形 2"/>
          <p:cNvSpPr/>
          <p:nvPr/>
        </p:nvSpPr>
        <p:spPr>
          <a:xfrm>
            <a:off x="2028825" y="2595245"/>
            <a:ext cx="885825" cy="885825"/>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a:solidFill>
                  <a:schemeClr val="accent1"/>
                </a:solidFill>
                <a:latin typeface="锐字真言体免费商用" panose="02010600030101010101" charset="-122"/>
                <a:ea typeface="锐字真言体免费商用" panose="02010600030101010101" charset="-122"/>
              </a:rPr>
              <a:t>4</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with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diamond(in)">
                                      <p:cBhvr>
                                        <p:cTn id="7" dur="1000"/>
                                        <p:tgtEl>
                                          <p:spTgt spid="3"/>
                                        </p:tgtEl>
                                      </p:cBhvr>
                                    </p:animEffect>
                                  </p:childTnLst>
                                </p:cTn>
                              </p:par>
                            </p:childTnLst>
                          </p:cTn>
                        </p:par>
                        <p:par>
                          <p:cTn id="8" fill="hold">
                            <p:stCondLst>
                              <p:cond delay="1000"/>
                            </p:stCondLst>
                            <p:childTnLst>
                              <p:par>
                                <p:cTn id="9" presetID="5" presetClass="entr" presetSubtype="1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heckerboard(across)">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淘宝网chenying0907出品 6"/>
          <p:cNvSpPr>
            <a:spLocks noEditPoints="1"/>
          </p:cNvSpPr>
          <p:nvPr/>
        </p:nvSpPr>
        <p:spPr bwMode="auto">
          <a:xfrm>
            <a:off x="652083" y="2991376"/>
            <a:ext cx="1594164" cy="1594164"/>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4"/>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7" name="淘宝网chenying0907出品 7"/>
          <p:cNvSpPr>
            <a:spLocks noEditPoints="1"/>
          </p:cNvSpPr>
          <p:nvPr/>
        </p:nvSpPr>
        <p:spPr bwMode="auto">
          <a:xfrm>
            <a:off x="2246246" y="2471034"/>
            <a:ext cx="1594164" cy="1594164"/>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3"/>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8" name="淘宝网chenying0907出品 8"/>
          <p:cNvSpPr>
            <a:spLocks noEditPoints="1"/>
          </p:cNvSpPr>
          <p:nvPr/>
        </p:nvSpPr>
        <p:spPr bwMode="auto">
          <a:xfrm>
            <a:off x="1960750" y="4065197"/>
            <a:ext cx="1292249" cy="129224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5"/>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9" name="淘宝网chenying0907出品 9"/>
          <p:cNvSpPr>
            <a:spLocks noEditPoints="1"/>
          </p:cNvSpPr>
          <p:nvPr/>
        </p:nvSpPr>
        <p:spPr bwMode="auto">
          <a:xfrm>
            <a:off x="1279618" y="1699127"/>
            <a:ext cx="1292249" cy="1292249"/>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2"/>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10" name="淘宝网chenying0907出品 10"/>
          <p:cNvSpPr>
            <a:spLocks noEditPoints="1"/>
          </p:cNvSpPr>
          <p:nvPr/>
        </p:nvSpPr>
        <p:spPr bwMode="auto">
          <a:xfrm>
            <a:off x="2571869" y="1530720"/>
            <a:ext cx="888420" cy="888420"/>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1"/>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11" name="淘宝网chenying0907出品 11"/>
          <p:cNvSpPr>
            <a:spLocks noEditPoints="1"/>
          </p:cNvSpPr>
          <p:nvPr/>
        </p:nvSpPr>
        <p:spPr bwMode="auto">
          <a:xfrm>
            <a:off x="1359000" y="4688122"/>
            <a:ext cx="566742" cy="566742"/>
          </a:xfrm>
          <a:custGeom>
            <a:avLst/>
            <a:gdLst>
              <a:gd name="T0" fmla="*/ 894 w 971"/>
              <a:gd name="T1" fmla="*/ 509 h 971"/>
              <a:gd name="T2" fmla="*/ 969 w 971"/>
              <a:gd name="T3" fmla="*/ 442 h 971"/>
              <a:gd name="T4" fmla="*/ 883 w 971"/>
              <a:gd name="T5" fmla="*/ 390 h 971"/>
              <a:gd name="T6" fmla="*/ 938 w 971"/>
              <a:gd name="T7" fmla="*/ 309 h 971"/>
              <a:gd name="T8" fmla="*/ 838 w 971"/>
              <a:gd name="T9" fmla="*/ 279 h 971"/>
              <a:gd name="T10" fmla="*/ 802 w 971"/>
              <a:gd name="T11" fmla="*/ 227 h 971"/>
              <a:gd name="T12" fmla="*/ 813 w 971"/>
              <a:gd name="T13" fmla="*/ 127 h 971"/>
              <a:gd name="T14" fmla="*/ 714 w 971"/>
              <a:gd name="T15" fmla="*/ 146 h 971"/>
              <a:gd name="T16" fmla="*/ 700 w 971"/>
              <a:gd name="T17" fmla="*/ 50 h 971"/>
              <a:gd name="T18" fmla="*/ 606 w 971"/>
              <a:gd name="T19" fmla="*/ 95 h 971"/>
              <a:gd name="T20" fmla="*/ 545 w 971"/>
              <a:gd name="T21" fmla="*/ 81 h 971"/>
              <a:gd name="T22" fmla="*/ 485 w 971"/>
              <a:gd name="T23" fmla="*/ 0 h 971"/>
              <a:gd name="T24" fmla="*/ 425 w 971"/>
              <a:gd name="T25" fmla="*/ 80 h 971"/>
              <a:gd name="T26" fmla="*/ 350 w 971"/>
              <a:gd name="T27" fmla="*/ 19 h 971"/>
              <a:gd name="T28" fmla="*/ 311 w 971"/>
              <a:gd name="T29" fmla="*/ 115 h 971"/>
              <a:gd name="T30" fmla="*/ 256 w 971"/>
              <a:gd name="T31" fmla="*/ 146 h 971"/>
              <a:gd name="T32" fmla="*/ 157 w 971"/>
              <a:gd name="T33" fmla="*/ 126 h 971"/>
              <a:gd name="T34" fmla="*/ 167 w 971"/>
              <a:gd name="T35" fmla="*/ 226 h 971"/>
              <a:gd name="T36" fmla="*/ 70 w 971"/>
              <a:gd name="T37" fmla="*/ 232 h 971"/>
              <a:gd name="T38" fmla="*/ 106 w 971"/>
              <a:gd name="T39" fmla="*/ 329 h 971"/>
              <a:gd name="T40" fmla="*/ 86 w 971"/>
              <a:gd name="T41" fmla="*/ 389 h 971"/>
              <a:gd name="T42" fmla="*/ 0 w 971"/>
              <a:gd name="T43" fmla="*/ 441 h 971"/>
              <a:gd name="T44" fmla="*/ 75 w 971"/>
              <a:gd name="T45" fmla="*/ 508 h 971"/>
              <a:gd name="T46" fmla="*/ 6 w 971"/>
              <a:gd name="T47" fmla="*/ 577 h 971"/>
              <a:gd name="T48" fmla="*/ 98 w 971"/>
              <a:gd name="T49" fmla="*/ 625 h 971"/>
              <a:gd name="T50" fmla="*/ 124 w 971"/>
              <a:gd name="T51" fmla="*/ 683 h 971"/>
              <a:gd name="T52" fmla="*/ 96 w 971"/>
              <a:gd name="T53" fmla="*/ 779 h 971"/>
              <a:gd name="T54" fmla="*/ 196 w 971"/>
              <a:gd name="T55" fmla="*/ 778 h 971"/>
              <a:gd name="T56" fmla="*/ 192 w 971"/>
              <a:gd name="T57" fmla="*/ 876 h 971"/>
              <a:gd name="T58" fmla="*/ 293 w 971"/>
              <a:gd name="T59" fmla="*/ 849 h 971"/>
              <a:gd name="T60" fmla="*/ 351 w 971"/>
              <a:gd name="T61" fmla="*/ 874 h 971"/>
              <a:gd name="T62" fmla="*/ 394 w 971"/>
              <a:gd name="T63" fmla="*/ 965 h 971"/>
              <a:gd name="T64" fmla="*/ 468 w 971"/>
              <a:gd name="T65" fmla="*/ 896 h 971"/>
              <a:gd name="T66" fmla="*/ 531 w 971"/>
              <a:gd name="T67" fmla="*/ 971 h 971"/>
              <a:gd name="T68" fmla="*/ 587 w 971"/>
              <a:gd name="T69" fmla="*/ 884 h 971"/>
              <a:gd name="T70" fmla="*/ 647 w 971"/>
              <a:gd name="T71" fmla="*/ 863 h 971"/>
              <a:gd name="T72" fmla="*/ 740 w 971"/>
              <a:gd name="T73" fmla="*/ 900 h 971"/>
              <a:gd name="T74" fmla="*/ 748 w 971"/>
              <a:gd name="T75" fmla="*/ 800 h 971"/>
              <a:gd name="T76" fmla="*/ 845 w 971"/>
              <a:gd name="T77" fmla="*/ 813 h 971"/>
              <a:gd name="T78" fmla="*/ 828 w 971"/>
              <a:gd name="T79" fmla="*/ 711 h 971"/>
              <a:gd name="T80" fmla="*/ 858 w 971"/>
              <a:gd name="T81" fmla="*/ 655 h 971"/>
              <a:gd name="T82" fmla="*/ 952 w 971"/>
              <a:gd name="T83" fmla="*/ 620 h 971"/>
              <a:gd name="T84" fmla="*/ 891 w 971"/>
              <a:gd name="T85" fmla="*/ 541 h 971"/>
              <a:gd name="T86" fmla="*/ 766 w 971"/>
              <a:gd name="T87" fmla="*/ 641 h 971"/>
              <a:gd name="T88" fmla="*/ 588 w 971"/>
              <a:gd name="T89" fmla="*/ 790 h 971"/>
              <a:gd name="T90" fmla="*/ 357 w 971"/>
              <a:gd name="T91" fmla="*/ 781 h 971"/>
              <a:gd name="T92" fmla="*/ 191 w 971"/>
              <a:gd name="T93" fmla="*/ 618 h 971"/>
              <a:gd name="T94" fmla="*/ 179 w 971"/>
              <a:gd name="T95" fmla="*/ 386 h 971"/>
              <a:gd name="T96" fmla="*/ 326 w 971"/>
              <a:gd name="T97" fmla="*/ 207 h 971"/>
              <a:gd name="T98" fmla="*/ 556 w 971"/>
              <a:gd name="T99" fmla="*/ 173 h 971"/>
              <a:gd name="T100" fmla="*/ 748 w 971"/>
              <a:gd name="T101" fmla="*/ 303 h 971"/>
              <a:gd name="T102" fmla="*/ 803 w 971"/>
              <a:gd name="T103" fmla="*/ 529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1" h="971">
                <a:moveTo>
                  <a:pt x="891" y="541"/>
                </a:moveTo>
                <a:cubicBezTo>
                  <a:pt x="893" y="530"/>
                  <a:pt x="893" y="520"/>
                  <a:pt x="894" y="509"/>
                </a:cubicBezTo>
                <a:cubicBezTo>
                  <a:pt x="920" y="502"/>
                  <a:pt x="946" y="494"/>
                  <a:pt x="971" y="485"/>
                </a:cubicBezTo>
                <a:cubicBezTo>
                  <a:pt x="971" y="470"/>
                  <a:pt x="970" y="456"/>
                  <a:pt x="969" y="442"/>
                </a:cubicBezTo>
                <a:cubicBezTo>
                  <a:pt x="942" y="433"/>
                  <a:pt x="916" y="426"/>
                  <a:pt x="889" y="421"/>
                </a:cubicBezTo>
                <a:cubicBezTo>
                  <a:pt x="888" y="411"/>
                  <a:pt x="885" y="400"/>
                  <a:pt x="883" y="390"/>
                </a:cubicBezTo>
                <a:cubicBezTo>
                  <a:pt x="880" y="380"/>
                  <a:pt x="878" y="370"/>
                  <a:pt x="874" y="360"/>
                </a:cubicBezTo>
                <a:cubicBezTo>
                  <a:pt x="896" y="344"/>
                  <a:pt x="917" y="327"/>
                  <a:pt x="938" y="309"/>
                </a:cubicBezTo>
                <a:cubicBezTo>
                  <a:pt x="932" y="296"/>
                  <a:pt x="927" y="283"/>
                  <a:pt x="920" y="270"/>
                </a:cubicBezTo>
                <a:cubicBezTo>
                  <a:pt x="893" y="271"/>
                  <a:pt x="865" y="274"/>
                  <a:pt x="838" y="279"/>
                </a:cubicBezTo>
                <a:cubicBezTo>
                  <a:pt x="833" y="270"/>
                  <a:pt x="828" y="261"/>
                  <a:pt x="821" y="252"/>
                </a:cubicBezTo>
                <a:cubicBezTo>
                  <a:pt x="816" y="244"/>
                  <a:pt x="809" y="235"/>
                  <a:pt x="802" y="227"/>
                </a:cubicBezTo>
                <a:cubicBezTo>
                  <a:pt x="817" y="205"/>
                  <a:pt x="831" y="181"/>
                  <a:pt x="843" y="157"/>
                </a:cubicBezTo>
                <a:cubicBezTo>
                  <a:pt x="833" y="147"/>
                  <a:pt x="823" y="137"/>
                  <a:pt x="813" y="127"/>
                </a:cubicBezTo>
                <a:cubicBezTo>
                  <a:pt x="787" y="139"/>
                  <a:pt x="763" y="151"/>
                  <a:pt x="740" y="165"/>
                </a:cubicBezTo>
                <a:cubicBezTo>
                  <a:pt x="731" y="159"/>
                  <a:pt x="723" y="153"/>
                  <a:pt x="714" y="146"/>
                </a:cubicBezTo>
                <a:cubicBezTo>
                  <a:pt x="705" y="141"/>
                  <a:pt x="696" y="135"/>
                  <a:pt x="687" y="130"/>
                </a:cubicBezTo>
                <a:cubicBezTo>
                  <a:pt x="693" y="104"/>
                  <a:pt x="697" y="77"/>
                  <a:pt x="700" y="50"/>
                </a:cubicBezTo>
                <a:cubicBezTo>
                  <a:pt x="687" y="44"/>
                  <a:pt x="674" y="38"/>
                  <a:pt x="661" y="33"/>
                </a:cubicBezTo>
                <a:cubicBezTo>
                  <a:pt x="641" y="52"/>
                  <a:pt x="623" y="73"/>
                  <a:pt x="606" y="95"/>
                </a:cubicBezTo>
                <a:cubicBezTo>
                  <a:pt x="596" y="92"/>
                  <a:pt x="586" y="89"/>
                  <a:pt x="576" y="86"/>
                </a:cubicBezTo>
                <a:cubicBezTo>
                  <a:pt x="566" y="84"/>
                  <a:pt x="555" y="82"/>
                  <a:pt x="545" y="81"/>
                </a:cubicBezTo>
                <a:cubicBezTo>
                  <a:pt x="541" y="54"/>
                  <a:pt x="535" y="28"/>
                  <a:pt x="528" y="2"/>
                </a:cubicBezTo>
                <a:cubicBezTo>
                  <a:pt x="513" y="0"/>
                  <a:pt x="499" y="0"/>
                  <a:pt x="485" y="0"/>
                </a:cubicBezTo>
                <a:cubicBezTo>
                  <a:pt x="474" y="25"/>
                  <a:pt x="464" y="51"/>
                  <a:pt x="457" y="77"/>
                </a:cubicBezTo>
                <a:cubicBezTo>
                  <a:pt x="446" y="78"/>
                  <a:pt x="436" y="79"/>
                  <a:pt x="425" y="80"/>
                </a:cubicBezTo>
                <a:cubicBezTo>
                  <a:pt x="415" y="82"/>
                  <a:pt x="404" y="84"/>
                  <a:pt x="394" y="86"/>
                </a:cubicBezTo>
                <a:cubicBezTo>
                  <a:pt x="381" y="63"/>
                  <a:pt x="366" y="41"/>
                  <a:pt x="350" y="19"/>
                </a:cubicBezTo>
                <a:cubicBezTo>
                  <a:pt x="336" y="23"/>
                  <a:pt x="322" y="27"/>
                  <a:pt x="309" y="32"/>
                </a:cubicBezTo>
                <a:cubicBezTo>
                  <a:pt x="308" y="60"/>
                  <a:pt x="309" y="88"/>
                  <a:pt x="311" y="115"/>
                </a:cubicBezTo>
                <a:cubicBezTo>
                  <a:pt x="301" y="119"/>
                  <a:pt x="292" y="124"/>
                  <a:pt x="283" y="129"/>
                </a:cubicBezTo>
                <a:cubicBezTo>
                  <a:pt x="273" y="134"/>
                  <a:pt x="264" y="140"/>
                  <a:pt x="256" y="146"/>
                </a:cubicBezTo>
                <a:cubicBezTo>
                  <a:pt x="235" y="129"/>
                  <a:pt x="213" y="113"/>
                  <a:pt x="190" y="99"/>
                </a:cubicBezTo>
                <a:cubicBezTo>
                  <a:pt x="178" y="108"/>
                  <a:pt x="167" y="117"/>
                  <a:pt x="157" y="126"/>
                </a:cubicBezTo>
                <a:cubicBezTo>
                  <a:pt x="166" y="153"/>
                  <a:pt x="176" y="178"/>
                  <a:pt x="188" y="203"/>
                </a:cubicBezTo>
                <a:cubicBezTo>
                  <a:pt x="181" y="210"/>
                  <a:pt x="174" y="218"/>
                  <a:pt x="167" y="226"/>
                </a:cubicBezTo>
                <a:cubicBezTo>
                  <a:pt x="161" y="235"/>
                  <a:pt x="154" y="243"/>
                  <a:pt x="148" y="252"/>
                </a:cubicBezTo>
                <a:cubicBezTo>
                  <a:pt x="122" y="243"/>
                  <a:pt x="97" y="237"/>
                  <a:pt x="70" y="232"/>
                </a:cubicBezTo>
                <a:cubicBezTo>
                  <a:pt x="62" y="244"/>
                  <a:pt x="55" y="256"/>
                  <a:pt x="49" y="269"/>
                </a:cubicBezTo>
                <a:cubicBezTo>
                  <a:pt x="67" y="290"/>
                  <a:pt x="86" y="310"/>
                  <a:pt x="106" y="329"/>
                </a:cubicBezTo>
                <a:cubicBezTo>
                  <a:pt x="102" y="339"/>
                  <a:pt x="98" y="348"/>
                  <a:pt x="95" y="358"/>
                </a:cubicBezTo>
                <a:cubicBezTo>
                  <a:pt x="91" y="369"/>
                  <a:pt x="88" y="379"/>
                  <a:pt x="86" y="389"/>
                </a:cubicBezTo>
                <a:cubicBezTo>
                  <a:pt x="59" y="391"/>
                  <a:pt x="32" y="394"/>
                  <a:pt x="6" y="399"/>
                </a:cubicBezTo>
                <a:cubicBezTo>
                  <a:pt x="3" y="413"/>
                  <a:pt x="1" y="427"/>
                  <a:pt x="0" y="441"/>
                </a:cubicBezTo>
                <a:cubicBezTo>
                  <a:pt x="24" y="454"/>
                  <a:pt x="49" y="466"/>
                  <a:pt x="74" y="476"/>
                </a:cubicBezTo>
                <a:cubicBezTo>
                  <a:pt x="74" y="487"/>
                  <a:pt x="74" y="497"/>
                  <a:pt x="75" y="508"/>
                </a:cubicBezTo>
                <a:cubicBezTo>
                  <a:pt x="75" y="518"/>
                  <a:pt x="76" y="529"/>
                  <a:pt x="78" y="539"/>
                </a:cubicBezTo>
                <a:cubicBezTo>
                  <a:pt x="53" y="551"/>
                  <a:pt x="30" y="563"/>
                  <a:pt x="6" y="577"/>
                </a:cubicBezTo>
                <a:cubicBezTo>
                  <a:pt x="9" y="591"/>
                  <a:pt x="12" y="605"/>
                  <a:pt x="16" y="619"/>
                </a:cubicBezTo>
                <a:cubicBezTo>
                  <a:pt x="44" y="623"/>
                  <a:pt x="71" y="625"/>
                  <a:pt x="98" y="625"/>
                </a:cubicBezTo>
                <a:cubicBezTo>
                  <a:pt x="102" y="635"/>
                  <a:pt x="106" y="645"/>
                  <a:pt x="110" y="654"/>
                </a:cubicBezTo>
                <a:cubicBezTo>
                  <a:pt x="114" y="664"/>
                  <a:pt x="119" y="674"/>
                  <a:pt x="124" y="683"/>
                </a:cubicBezTo>
                <a:cubicBezTo>
                  <a:pt x="106" y="702"/>
                  <a:pt x="88" y="723"/>
                  <a:pt x="71" y="744"/>
                </a:cubicBezTo>
                <a:cubicBezTo>
                  <a:pt x="79" y="756"/>
                  <a:pt x="87" y="768"/>
                  <a:pt x="96" y="779"/>
                </a:cubicBezTo>
                <a:cubicBezTo>
                  <a:pt x="123" y="773"/>
                  <a:pt x="149" y="765"/>
                  <a:pt x="174" y="755"/>
                </a:cubicBezTo>
                <a:cubicBezTo>
                  <a:pt x="181" y="763"/>
                  <a:pt x="189" y="771"/>
                  <a:pt x="196" y="778"/>
                </a:cubicBezTo>
                <a:cubicBezTo>
                  <a:pt x="204" y="786"/>
                  <a:pt x="211" y="793"/>
                  <a:pt x="220" y="800"/>
                </a:cubicBezTo>
                <a:cubicBezTo>
                  <a:pt x="209" y="824"/>
                  <a:pt x="200" y="850"/>
                  <a:pt x="192" y="876"/>
                </a:cubicBezTo>
                <a:cubicBezTo>
                  <a:pt x="204" y="884"/>
                  <a:pt x="216" y="892"/>
                  <a:pt x="228" y="900"/>
                </a:cubicBezTo>
                <a:cubicBezTo>
                  <a:pt x="251" y="884"/>
                  <a:pt x="272" y="867"/>
                  <a:pt x="293" y="849"/>
                </a:cubicBezTo>
                <a:cubicBezTo>
                  <a:pt x="302" y="854"/>
                  <a:pt x="311" y="858"/>
                  <a:pt x="321" y="863"/>
                </a:cubicBezTo>
                <a:cubicBezTo>
                  <a:pt x="331" y="867"/>
                  <a:pt x="341" y="871"/>
                  <a:pt x="351" y="874"/>
                </a:cubicBezTo>
                <a:cubicBezTo>
                  <a:pt x="350" y="901"/>
                  <a:pt x="351" y="928"/>
                  <a:pt x="353" y="955"/>
                </a:cubicBezTo>
                <a:cubicBezTo>
                  <a:pt x="366" y="959"/>
                  <a:pt x="380" y="962"/>
                  <a:pt x="394" y="965"/>
                </a:cubicBezTo>
                <a:cubicBezTo>
                  <a:pt x="410" y="942"/>
                  <a:pt x="424" y="918"/>
                  <a:pt x="436" y="894"/>
                </a:cubicBezTo>
                <a:cubicBezTo>
                  <a:pt x="447" y="895"/>
                  <a:pt x="457" y="896"/>
                  <a:pt x="468" y="896"/>
                </a:cubicBezTo>
                <a:cubicBezTo>
                  <a:pt x="479" y="897"/>
                  <a:pt x="489" y="897"/>
                  <a:pt x="500" y="896"/>
                </a:cubicBezTo>
                <a:cubicBezTo>
                  <a:pt x="509" y="921"/>
                  <a:pt x="519" y="947"/>
                  <a:pt x="531" y="971"/>
                </a:cubicBezTo>
                <a:cubicBezTo>
                  <a:pt x="545" y="969"/>
                  <a:pt x="559" y="967"/>
                  <a:pt x="573" y="965"/>
                </a:cubicBezTo>
                <a:cubicBezTo>
                  <a:pt x="580" y="937"/>
                  <a:pt x="584" y="911"/>
                  <a:pt x="587" y="884"/>
                </a:cubicBezTo>
                <a:cubicBezTo>
                  <a:pt x="597" y="881"/>
                  <a:pt x="607" y="878"/>
                  <a:pt x="617" y="875"/>
                </a:cubicBezTo>
                <a:cubicBezTo>
                  <a:pt x="627" y="871"/>
                  <a:pt x="637" y="867"/>
                  <a:pt x="647" y="863"/>
                </a:cubicBezTo>
                <a:cubicBezTo>
                  <a:pt x="664" y="883"/>
                  <a:pt x="683" y="903"/>
                  <a:pt x="703" y="921"/>
                </a:cubicBezTo>
                <a:cubicBezTo>
                  <a:pt x="716" y="915"/>
                  <a:pt x="728" y="908"/>
                  <a:pt x="740" y="900"/>
                </a:cubicBezTo>
                <a:cubicBezTo>
                  <a:pt x="736" y="873"/>
                  <a:pt x="731" y="846"/>
                  <a:pt x="723" y="820"/>
                </a:cubicBezTo>
                <a:cubicBezTo>
                  <a:pt x="732" y="814"/>
                  <a:pt x="740" y="807"/>
                  <a:pt x="748" y="800"/>
                </a:cubicBezTo>
                <a:cubicBezTo>
                  <a:pt x="757" y="794"/>
                  <a:pt x="764" y="786"/>
                  <a:pt x="772" y="779"/>
                </a:cubicBezTo>
                <a:cubicBezTo>
                  <a:pt x="795" y="792"/>
                  <a:pt x="820" y="803"/>
                  <a:pt x="845" y="813"/>
                </a:cubicBezTo>
                <a:cubicBezTo>
                  <a:pt x="855" y="802"/>
                  <a:pt x="864" y="791"/>
                  <a:pt x="872" y="780"/>
                </a:cubicBezTo>
                <a:cubicBezTo>
                  <a:pt x="859" y="756"/>
                  <a:pt x="844" y="733"/>
                  <a:pt x="828" y="711"/>
                </a:cubicBezTo>
                <a:cubicBezTo>
                  <a:pt x="834" y="702"/>
                  <a:pt x="839" y="693"/>
                  <a:pt x="844" y="684"/>
                </a:cubicBezTo>
                <a:cubicBezTo>
                  <a:pt x="849" y="674"/>
                  <a:pt x="854" y="665"/>
                  <a:pt x="858" y="655"/>
                </a:cubicBezTo>
                <a:cubicBezTo>
                  <a:pt x="885" y="659"/>
                  <a:pt x="911" y="660"/>
                  <a:pt x="939" y="661"/>
                </a:cubicBezTo>
                <a:cubicBezTo>
                  <a:pt x="944" y="647"/>
                  <a:pt x="948" y="634"/>
                  <a:pt x="952" y="620"/>
                </a:cubicBezTo>
                <a:cubicBezTo>
                  <a:pt x="931" y="602"/>
                  <a:pt x="908" y="586"/>
                  <a:pt x="886" y="572"/>
                </a:cubicBezTo>
                <a:cubicBezTo>
                  <a:pt x="888" y="561"/>
                  <a:pt x="890" y="551"/>
                  <a:pt x="891" y="541"/>
                </a:cubicBezTo>
                <a:close/>
                <a:moveTo>
                  <a:pt x="803" y="529"/>
                </a:moveTo>
                <a:cubicBezTo>
                  <a:pt x="798" y="568"/>
                  <a:pt x="785" y="606"/>
                  <a:pt x="766" y="641"/>
                </a:cubicBezTo>
                <a:cubicBezTo>
                  <a:pt x="747" y="676"/>
                  <a:pt x="721" y="707"/>
                  <a:pt x="691" y="732"/>
                </a:cubicBezTo>
                <a:cubicBezTo>
                  <a:pt x="661" y="758"/>
                  <a:pt x="626" y="778"/>
                  <a:pt x="588" y="790"/>
                </a:cubicBezTo>
                <a:cubicBezTo>
                  <a:pt x="551" y="803"/>
                  <a:pt x="511" y="809"/>
                  <a:pt x="472" y="807"/>
                </a:cubicBezTo>
                <a:cubicBezTo>
                  <a:pt x="432" y="806"/>
                  <a:pt x="393" y="797"/>
                  <a:pt x="357" y="781"/>
                </a:cubicBezTo>
                <a:cubicBezTo>
                  <a:pt x="320" y="765"/>
                  <a:pt x="287" y="743"/>
                  <a:pt x="259" y="715"/>
                </a:cubicBezTo>
                <a:cubicBezTo>
                  <a:pt x="230" y="687"/>
                  <a:pt x="207" y="654"/>
                  <a:pt x="191" y="618"/>
                </a:cubicBezTo>
                <a:cubicBezTo>
                  <a:pt x="175" y="582"/>
                  <a:pt x="166" y="543"/>
                  <a:pt x="164" y="503"/>
                </a:cubicBezTo>
                <a:cubicBezTo>
                  <a:pt x="161" y="464"/>
                  <a:pt x="167" y="424"/>
                  <a:pt x="179" y="386"/>
                </a:cubicBezTo>
                <a:cubicBezTo>
                  <a:pt x="191" y="349"/>
                  <a:pt x="211" y="313"/>
                  <a:pt x="236" y="283"/>
                </a:cubicBezTo>
                <a:cubicBezTo>
                  <a:pt x="261" y="252"/>
                  <a:pt x="292" y="226"/>
                  <a:pt x="326" y="207"/>
                </a:cubicBezTo>
                <a:cubicBezTo>
                  <a:pt x="361" y="187"/>
                  <a:pt x="399" y="174"/>
                  <a:pt x="438" y="168"/>
                </a:cubicBezTo>
                <a:cubicBezTo>
                  <a:pt x="477" y="163"/>
                  <a:pt x="517" y="164"/>
                  <a:pt x="556" y="173"/>
                </a:cubicBezTo>
                <a:cubicBezTo>
                  <a:pt x="594" y="182"/>
                  <a:pt x="632" y="198"/>
                  <a:pt x="664" y="220"/>
                </a:cubicBezTo>
                <a:cubicBezTo>
                  <a:pt x="697" y="242"/>
                  <a:pt x="726" y="271"/>
                  <a:pt x="748" y="303"/>
                </a:cubicBezTo>
                <a:cubicBezTo>
                  <a:pt x="771" y="336"/>
                  <a:pt x="787" y="372"/>
                  <a:pt x="797" y="411"/>
                </a:cubicBezTo>
                <a:cubicBezTo>
                  <a:pt x="806" y="450"/>
                  <a:pt x="808" y="490"/>
                  <a:pt x="803" y="529"/>
                </a:cubicBezTo>
                <a:close/>
              </a:path>
            </a:pathLst>
          </a:custGeom>
          <a:solidFill>
            <a:schemeClr val="accent6"/>
          </a:solidFill>
          <a:ln>
            <a:noFill/>
          </a:ln>
        </p:spPr>
        <p:txBody>
          <a:bodyPr vert="horz" wrap="square" lIns="91412" tIns="45706" rIns="91412" bIns="45706" numCol="1" anchor="t" anchorCtr="0" compatLnSpc="1"/>
          <a:lstStyle/>
          <a:p>
            <a:endParaRPr lang="en-US" sz="1350" dirty="0">
              <a:solidFill>
                <a:schemeClr val="tx2"/>
              </a:solidFill>
              <a:latin typeface="Source Han Sans HW SC" panose="020F0502020204030204"/>
              <a:ea typeface="庞门正道标题体" panose="02010600030101010101" pitchFamily="2" charset="-122"/>
              <a:sym typeface="Source Han Sans HW SC" panose="020F0502020204030204"/>
            </a:endParaRPr>
          </a:p>
        </p:txBody>
      </p:sp>
      <p:sp>
        <p:nvSpPr>
          <p:cNvPr id="12" name="Rectangle 19"/>
          <p:cNvSpPr/>
          <p:nvPr/>
        </p:nvSpPr>
        <p:spPr>
          <a:xfrm>
            <a:off x="4353170" y="1084007"/>
            <a:ext cx="6467127" cy="1771015"/>
          </a:xfrm>
          <a:prstGeom prst="rect">
            <a:avLst/>
          </a:prstGeom>
        </p:spPr>
        <p:txBody>
          <a:bodyPr wrap="square">
            <a:spAutoFit/>
          </a:bodyPr>
          <a:lstStyle/>
          <a:p>
            <a:pPr>
              <a:lnSpc>
                <a:spcPct val="150000"/>
              </a:lnSpc>
            </a:pPr>
            <a:r>
              <a:rPr lang="zh-CN" altLang="en-US" sz="2800" dirty="0">
                <a:solidFill>
                  <a:schemeClr val="accent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2800" dirty="0">
                <a:solidFill>
                  <a:schemeClr val="accent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accent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输入替换内容输入替换内容输入替换内容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a:p>
            <a:pPr marL="0" marR="0" lvl="0" indent="0" algn="l" defTabSz="913765" rtl="0" eaLnBrk="1" fontAlgn="auto" latinLnBrk="0" hangingPunct="1">
              <a:lnSpc>
                <a:spcPct val="120000"/>
              </a:lnSpc>
              <a:spcBef>
                <a:spcPct val="0"/>
              </a:spcBef>
              <a:spcAft>
                <a:spcPts val="0"/>
              </a:spcAft>
              <a:buClrTx/>
              <a:buSzTx/>
              <a:buFontTx/>
              <a:buNone/>
              <a:defRPr/>
            </a:pPr>
            <a:endParaRPr lang="zh-CN" altLang="en-US" sz="1400" dirty="0">
              <a:solidFill>
                <a:schemeClr val="bg2">
                  <a:lumMod val="10000"/>
                </a:schemeClr>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13" name="TextBox 20"/>
          <p:cNvSpPr txBox="1"/>
          <p:nvPr/>
        </p:nvSpPr>
        <p:spPr>
          <a:xfrm>
            <a:off x="4450411" y="3006113"/>
            <a:ext cx="938080" cy="458020"/>
          </a:xfrm>
          <a:prstGeom prst="roundRect">
            <a:avLst/>
          </a:prstGeom>
          <a:solidFill>
            <a:schemeClr val="accent1"/>
          </a:solidFill>
        </p:spPr>
        <p:txBody>
          <a:bodyPr wrap="none" rtlCol="0">
            <a:spAutoFit/>
          </a:bodyPr>
          <a:lstStyle/>
          <a:p>
            <a:pPr>
              <a:lnSpc>
                <a:spcPct val="150000"/>
              </a:lnSpc>
            </a:pPr>
            <a:r>
              <a:rPr lang="zh-CN" altLang="en-US"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15" name="TextBox 22"/>
          <p:cNvSpPr txBox="1"/>
          <p:nvPr/>
        </p:nvSpPr>
        <p:spPr>
          <a:xfrm>
            <a:off x="4450411" y="4861682"/>
            <a:ext cx="938080" cy="458020"/>
          </a:xfrm>
          <a:prstGeom prst="roundRect">
            <a:avLst/>
          </a:prstGeom>
          <a:solidFill>
            <a:schemeClr val="accent3"/>
          </a:solidFill>
        </p:spPr>
        <p:txBody>
          <a:bodyPr wrap="none" rtlCol="0">
            <a:spAutoFit/>
          </a:bodyPr>
          <a:lstStyle/>
          <a:p>
            <a:pPr>
              <a:lnSpc>
                <a:spcPct val="150000"/>
              </a:lnSpc>
            </a:pPr>
            <a:r>
              <a:rPr lang="zh-CN" altLang="en-US"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17" name="TextBox 24"/>
          <p:cNvSpPr txBox="1"/>
          <p:nvPr/>
        </p:nvSpPr>
        <p:spPr>
          <a:xfrm>
            <a:off x="4450411" y="3943932"/>
            <a:ext cx="938080" cy="458020"/>
          </a:xfrm>
          <a:prstGeom prst="roundRect">
            <a:avLst/>
          </a:prstGeom>
          <a:solidFill>
            <a:schemeClr val="accent2"/>
          </a:solidFill>
        </p:spPr>
        <p:txBody>
          <a:bodyPr wrap="none" rtlCol="0">
            <a:spAutoFit/>
          </a:bodyPr>
          <a:lstStyle/>
          <a:p>
            <a:pPr>
              <a:lnSpc>
                <a:spcPct val="150000"/>
              </a:lnSpc>
            </a:pPr>
            <a:r>
              <a:rPr lang="zh-CN" altLang="en-US"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19" name="TextBox 26"/>
          <p:cNvSpPr txBox="1"/>
          <p:nvPr/>
        </p:nvSpPr>
        <p:spPr>
          <a:xfrm>
            <a:off x="8182905" y="3006113"/>
            <a:ext cx="938080" cy="458020"/>
          </a:xfrm>
          <a:prstGeom prst="roundRect">
            <a:avLst/>
          </a:prstGeom>
          <a:solidFill>
            <a:schemeClr val="accent4"/>
          </a:solidFill>
        </p:spPr>
        <p:txBody>
          <a:bodyPr wrap="none" rtlCol="0">
            <a:spAutoFit/>
          </a:bodyPr>
          <a:lstStyle/>
          <a:p>
            <a:pPr>
              <a:lnSpc>
                <a:spcPct val="150000"/>
              </a:lnSpc>
            </a:pPr>
            <a:r>
              <a:rPr lang="zh-CN" altLang="en-US"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21" name="TextBox 28"/>
          <p:cNvSpPr txBox="1"/>
          <p:nvPr/>
        </p:nvSpPr>
        <p:spPr>
          <a:xfrm>
            <a:off x="8182905" y="3943932"/>
            <a:ext cx="938080" cy="458020"/>
          </a:xfrm>
          <a:prstGeom prst="roundRect">
            <a:avLst/>
          </a:prstGeom>
          <a:solidFill>
            <a:schemeClr val="accent5"/>
          </a:solidFill>
        </p:spPr>
        <p:txBody>
          <a:bodyPr wrap="none" rtlCol="0">
            <a:spAutoFit/>
          </a:bodyPr>
          <a:lstStyle/>
          <a:p>
            <a:pPr>
              <a:lnSpc>
                <a:spcPct val="150000"/>
              </a:lnSpc>
            </a:pPr>
            <a:r>
              <a:rPr lang="zh-CN" altLang="en-US"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标题内容</a:t>
            </a:r>
            <a:r>
              <a:rPr lang="id-ID"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rPr>
              <a:t> </a:t>
            </a:r>
            <a:endParaRPr lang="en-US" altLang="zh-CN" sz="1400" dirty="0">
              <a:solidFill>
                <a:schemeClr val="bg1"/>
              </a:solidFill>
              <a:latin typeface="锐字真言体免费商用" panose="02010600030101010101" charset="-122"/>
              <a:ea typeface="锐字真言体免费商用" panose="02010600030101010101" charset="-122"/>
              <a:cs typeface="锐字真言体免费商用" panose="02010600030101010101" charset="-122"/>
              <a:sym typeface="Source Han Sans HW SC" panose="020F0502020204030204"/>
            </a:endParaRPr>
          </a:p>
        </p:txBody>
      </p:sp>
      <p:sp>
        <p:nvSpPr>
          <p:cNvPr id="23" name="išľíďè"/>
          <p:cNvSpPr/>
          <p:nvPr/>
        </p:nvSpPr>
        <p:spPr bwMode="auto">
          <a:xfrm>
            <a:off x="5475037" y="2956379"/>
            <a:ext cx="2561037"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4" name="išľíďè"/>
          <p:cNvSpPr/>
          <p:nvPr/>
        </p:nvSpPr>
        <p:spPr bwMode="auto">
          <a:xfrm>
            <a:off x="5475037" y="3894197"/>
            <a:ext cx="2561037"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5" name="išľíďè"/>
          <p:cNvSpPr/>
          <p:nvPr/>
        </p:nvSpPr>
        <p:spPr bwMode="auto">
          <a:xfrm>
            <a:off x="5475036" y="4811947"/>
            <a:ext cx="2561037"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6" name="išľíďè"/>
          <p:cNvSpPr/>
          <p:nvPr/>
        </p:nvSpPr>
        <p:spPr bwMode="auto">
          <a:xfrm>
            <a:off x="9207532" y="2956379"/>
            <a:ext cx="2561037"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7" name="išľíďè"/>
          <p:cNvSpPr/>
          <p:nvPr/>
        </p:nvSpPr>
        <p:spPr bwMode="auto">
          <a:xfrm>
            <a:off x="9207532" y="3894197"/>
            <a:ext cx="2561037"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4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400" b="0" i="0" u="none" strike="noStrike" kern="1200" cap="none" spc="0" normalizeH="0" baseline="0" noProof="0" dirty="0">
              <a:ln>
                <a:noFill/>
              </a:ln>
              <a:solidFill>
                <a:schemeClr val="bg2">
                  <a:lumMod val="10000"/>
                </a:schemeClr>
              </a:solidFill>
              <a:effectLst/>
              <a:uLnTx/>
              <a:uFillTx/>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2000">
        <p14:gallery dir="l"/>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 calcmode="lin" valueType="num">
                                      <p:cBhvr>
                                        <p:cTn id="17" dur="500" fill="hold"/>
                                        <p:tgtEl>
                                          <p:spTgt spid="8"/>
                                        </p:tgtEl>
                                        <p:attrNameLst>
                                          <p:attrName>ppt_w</p:attrName>
                                        </p:attrNameLst>
                                      </p:cBhvr>
                                      <p:tavLst>
                                        <p:tav tm="0">
                                          <p:val>
                                            <p:fltVal val="0"/>
                                          </p:val>
                                        </p:tav>
                                        <p:tav tm="100000">
                                          <p:val>
                                            <p:strVal val="#ppt_w"/>
                                          </p:val>
                                        </p:tav>
                                      </p:tavLst>
                                    </p:anim>
                                    <p:anim calcmode="lin" valueType="num">
                                      <p:cBhvr>
                                        <p:cTn id="18" dur="500" fill="hold"/>
                                        <p:tgtEl>
                                          <p:spTgt spid="8"/>
                                        </p:tgtEl>
                                        <p:attrNameLst>
                                          <p:attrName>ppt_h</p:attrName>
                                        </p:attrNameLst>
                                      </p:cBhvr>
                                      <p:tavLst>
                                        <p:tav tm="0">
                                          <p:val>
                                            <p:fltVal val="0"/>
                                          </p:val>
                                        </p:tav>
                                        <p:tav tm="100000">
                                          <p:val>
                                            <p:strVal val="#ppt_h"/>
                                          </p:val>
                                        </p:tav>
                                      </p:tavLst>
                                    </p:anim>
                                    <p:animEffect transition="in" filter="fade">
                                      <p:cBhvr>
                                        <p:cTn id="19" dur="500"/>
                                        <p:tgtEl>
                                          <p:spTgt spid="8"/>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anim calcmode="lin" valueType="num">
                                      <p:cBhvr>
                                        <p:cTn id="27" dur="500" fill="hold"/>
                                        <p:tgtEl>
                                          <p:spTgt spid="10"/>
                                        </p:tgtEl>
                                        <p:attrNameLst>
                                          <p:attrName>ppt_w</p:attrName>
                                        </p:attrNameLst>
                                      </p:cBhvr>
                                      <p:tavLst>
                                        <p:tav tm="0">
                                          <p:val>
                                            <p:fltVal val="0"/>
                                          </p:val>
                                        </p:tav>
                                        <p:tav tm="100000">
                                          <p:val>
                                            <p:strVal val="#ppt_w"/>
                                          </p:val>
                                        </p:tav>
                                      </p:tavLst>
                                    </p:anim>
                                    <p:anim calcmode="lin" valueType="num">
                                      <p:cBhvr>
                                        <p:cTn id="28" dur="500" fill="hold"/>
                                        <p:tgtEl>
                                          <p:spTgt spid="10"/>
                                        </p:tgtEl>
                                        <p:attrNameLst>
                                          <p:attrName>ppt_h</p:attrName>
                                        </p:attrNameLst>
                                      </p:cBhvr>
                                      <p:tavLst>
                                        <p:tav tm="0">
                                          <p:val>
                                            <p:fltVal val="0"/>
                                          </p:val>
                                        </p:tav>
                                        <p:tav tm="100000">
                                          <p:val>
                                            <p:strVal val="#ppt_h"/>
                                          </p:val>
                                        </p:tav>
                                      </p:tavLst>
                                    </p:anim>
                                    <p:animEffect transition="in" filter="fade">
                                      <p:cBhvr>
                                        <p:cTn id="29" dur="500"/>
                                        <p:tgtEl>
                                          <p:spTgt spid="10"/>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fltVal val="0"/>
                                          </p:val>
                                        </p:tav>
                                        <p:tav tm="100000">
                                          <p:val>
                                            <p:strVal val="#ppt_w"/>
                                          </p:val>
                                        </p:tav>
                                      </p:tavLst>
                                    </p:anim>
                                    <p:anim calcmode="lin" valueType="num">
                                      <p:cBhvr>
                                        <p:cTn id="33" dur="500" fill="hold"/>
                                        <p:tgtEl>
                                          <p:spTgt spid="11"/>
                                        </p:tgtEl>
                                        <p:attrNameLst>
                                          <p:attrName>ppt_h</p:attrName>
                                        </p:attrNameLst>
                                      </p:cBhvr>
                                      <p:tavLst>
                                        <p:tav tm="0">
                                          <p:val>
                                            <p:fltVal val="0"/>
                                          </p:val>
                                        </p:tav>
                                        <p:tav tm="100000">
                                          <p:val>
                                            <p:strVal val="#ppt_h"/>
                                          </p:val>
                                        </p:tav>
                                      </p:tavLst>
                                    </p:anim>
                                    <p:animEffect transition="in" filter="fade">
                                      <p:cBhvr>
                                        <p:cTn id="34" dur="500"/>
                                        <p:tgtEl>
                                          <p:spTgt spid="11"/>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2"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1+#ppt_w/2"/>
                                          </p:val>
                                        </p:tav>
                                        <p:tav tm="100000">
                                          <p:val>
                                            <p:strVal val="#ppt_x"/>
                                          </p:val>
                                        </p:tav>
                                      </p:tavLst>
                                    </p:anim>
                                    <p:anim calcmode="lin" valueType="num">
                                      <p:cBhvr additive="base">
                                        <p:cTn id="40" dur="5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1+#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1+#ppt_w/2"/>
                                          </p:val>
                                        </p:tav>
                                        <p:tav tm="100000">
                                          <p:val>
                                            <p:strVal val="#ppt_x"/>
                                          </p:val>
                                        </p:tav>
                                      </p:tavLst>
                                    </p:anim>
                                    <p:anim calcmode="lin" valueType="num">
                                      <p:cBhvr additive="base">
                                        <p:cTn id="48" dur="500" fill="hold"/>
                                        <p:tgtEl>
                                          <p:spTgt spid="15"/>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anim calcmode="lin" valueType="num">
                                      <p:cBhvr additive="base">
                                        <p:cTn id="51" dur="500" fill="hold"/>
                                        <p:tgtEl>
                                          <p:spTgt spid="17"/>
                                        </p:tgtEl>
                                        <p:attrNameLst>
                                          <p:attrName>ppt_x</p:attrName>
                                        </p:attrNameLst>
                                      </p:cBhvr>
                                      <p:tavLst>
                                        <p:tav tm="0">
                                          <p:val>
                                            <p:strVal val="1+#ppt_w/2"/>
                                          </p:val>
                                        </p:tav>
                                        <p:tav tm="100000">
                                          <p:val>
                                            <p:strVal val="#ppt_x"/>
                                          </p:val>
                                        </p:tav>
                                      </p:tavLst>
                                    </p:anim>
                                    <p:anim calcmode="lin" valueType="num">
                                      <p:cBhvr additive="base">
                                        <p:cTn id="52" dur="500" fill="hold"/>
                                        <p:tgtEl>
                                          <p:spTgt spid="17"/>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 calcmode="lin" valueType="num">
                                      <p:cBhvr additive="base">
                                        <p:cTn id="55" dur="500" fill="hold"/>
                                        <p:tgtEl>
                                          <p:spTgt spid="19"/>
                                        </p:tgtEl>
                                        <p:attrNameLst>
                                          <p:attrName>ppt_x</p:attrName>
                                        </p:attrNameLst>
                                      </p:cBhvr>
                                      <p:tavLst>
                                        <p:tav tm="0">
                                          <p:val>
                                            <p:strVal val="1+#ppt_w/2"/>
                                          </p:val>
                                        </p:tav>
                                        <p:tav tm="100000">
                                          <p:val>
                                            <p:strVal val="#ppt_x"/>
                                          </p:val>
                                        </p:tav>
                                      </p:tavLst>
                                    </p:anim>
                                    <p:anim calcmode="lin" valueType="num">
                                      <p:cBhvr additive="base">
                                        <p:cTn id="56" dur="500" fill="hold"/>
                                        <p:tgtEl>
                                          <p:spTgt spid="19"/>
                                        </p:tgtEl>
                                        <p:attrNameLst>
                                          <p:attrName>ppt_y</p:attrName>
                                        </p:attrNameLst>
                                      </p:cBhvr>
                                      <p:tavLst>
                                        <p:tav tm="0">
                                          <p:val>
                                            <p:strVal val="#ppt_y"/>
                                          </p:val>
                                        </p:tav>
                                        <p:tav tm="100000">
                                          <p:val>
                                            <p:strVal val="#ppt_y"/>
                                          </p:val>
                                        </p:tav>
                                      </p:tavLst>
                                    </p:anim>
                                  </p:childTnLst>
                                </p:cTn>
                              </p:par>
                              <p:par>
                                <p:cTn id="57" presetID="2" presetClass="entr" presetSubtype="2"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additive="base">
                                        <p:cTn id="59" dur="500" fill="hold"/>
                                        <p:tgtEl>
                                          <p:spTgt spid="21"/>
                                        </p:tgtEl>
                                        <p:attrNameLst>
                                          <p:attrName>ppt_x</p:attrName>
                                        </p:attrNameLst>
                                      </p:cBhvr>
                                      <p:tavLst>
                                        <p:tav tm="0">
                                          <p:val>
                                            <p:strVal val="1+#ppt_w/2"/>
                                          </p:val>
                                        </p:tav>
                                        <p:tav tm="100000">
                                          <p:val>
                                            <p:strVal val="#ppt_x"/>
                                          </p:val>
                                        </p:tav>
                                      </p:tavLst>
                                    </p:anim>
                                    <p:anim calcmode="lin" valueType="num">
                                      <p:cBhvr additive="base">
                                        <p:cTn id="60"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2" presetClass="entr" presetSubtype="4" fill="hold" grpId="0" nodeType="click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wipe(down)">
                                      <p:cBhvr>
                                        <p:cTn id="65" dur="500"/>
                                        <p:tgtEl>
                                          <p:spTgt spid="23"/>
                                        </p:tgtEl>
                                      </p:cBhvr>
                                    </p:animEffect>
                                  </p:childTnLst>
                                </p:cTn>
                              </p:par>
                            </p:childTnLst>
                          </p:cTn>
                        </p:par>
                      </p:childTnLst>
                    </p:cTn>
                  </p:par>
                  <p:par>
                    <p:cTn id="66" fill="hold">
                      <p:stCondLst>
                        <p:cond delay="indefinite"/>
                      </p:stCondLst>
                      <p:childTnLst>
                        <p:par>
                          <p:cTn id="67" fill="hold">
                            <p:stCondLst>
                              <p:cond delay="0"/>
                            </p:stCondLst>
                            <p:childTnLst>
                              <p:par>
                                <p:cTn id="68" presetID="22" presetClass="entr" presetSubtype="4" fill="hold" grpId="0" nodeType="clickEffect">
                                  <p:stCondLst>
                                    <p:cond delay="0"/>
                                  </p:stCondLst>
                                  <p:childTnLst>
                                    <p:set>
                                      <p:cBhvr>
                                        <p:cTn id="69" dur="1" fill="hold">
                                          <p:stCondLst>
                                            <p:cond delay="0"/>
                                          </p:stCondLst>
                                        </p:cTn>
                                        <p:tgtEl>
                                          <p:spTgt spid="24"/>
                                        </p:tgtEl>
                                        <p:attrNameLst>
                                          <p:attrName>style.visibility</p:attrName>
                                        </p:attrNameLst>
                                      </p:cBhvr>
                                      <p:to>
                                        <p:strVal val="visible"/>
                                      </p:to>
                                    </p:set>
                                    <p:animEffect transition="in" filter="wipe(down)">
                                      <p:cBhvr>
                                        <p:cTn id="70" dur="500"/>
                                        <p:tgtEl>
                                          <p:spTgt spid="24"/>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4" fill="hold" grpId="0" nodeType="clickEffect">
                                  <p:stCondLst>
                                    <p:cond delay="0"/>
                                  </p:stCondLst>
                                  <p:childTnLst>
                                    <p:set>
                                      <p:cBhvr>
                                        <p:cTn id="74" dur="1" fill="hold">
                                          <p:stCondLst>
                                            <p:cond delay="0"/>
                                          </p:stCondLst>
                                        </p:cTn>
                                        <p:tgtEl>
                                          <p:spTgt spid="25"/>
                                        </p:tgtEl>
                                        <p:attrNameLst>
                                          <p:attrName>style.visibility</p:attrName>
                                        </p:attrNameLst>
                                      </p:cBhvr>
                                      <p:to>
                                        <p:strVal val="visible"/>
                                      </p:to>
                                    </p:set>
                                    <p:animEffect transition="in" filter="wipe(down)">
                                      <p:cBhvr>
                                        <p:cTn id="75" dur="500"/>
                                        <p:tgtEl>
                                          <p:spTgt spid="25"/>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grpId="0" nodeType="clickEffect">
                                  <p:stCondLst>
                                    <p:cond delay="0"/>
                                  </p:stCondLst>
                                  <p:childTnLst>
                                    <p:set>
                                      <p:cBhvr>
                                        <p:cTn id="79" dur="1" fill="hold">
                                          <p:stCondLst>
                                            <p:cond delay="0"/>
                                          </p:stCondLst>
                                        </p:cTn>
                                        <p:tgtEl>
                                          <p:spTgt spid="26"/>
                                        </p:tgtEl>
                                        <p:attrNameLst>
                                          <p:attrName>style.visibility</p:attrName>
                                        </p:attrNameLst>
                                      </p:cBhvr>
                                      <p:to>
                                        <p:strVal val="visible"/>
                                      </p:to>
                                    </p:set>
                                    <p:animEffect transition="in" filter="wipe(down)">
                                      <p:cBhvr>
                                        <p:cTn id="80" dur="500"/>
                                        <p:tgtEl>
                                          <p:spTgt spid="26"/>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4" fill="hold" grpId="0" nodeType="clickEffect">
                                  <p:stCondLst>
                                    <p:cond delay="0"/>
                                  </p:stCondLst>
                                  <p:childTnLst>
                                    <p:set>
                                      <p:cBhvr>
                                        <p:cTn id="84" dur="1" fill="hold">
                                          <p:stCondLst>
                                            <p:cond delay="0"/>
                                          </p:stCondLst>
                                        </p:cTn>
                                        <p:tgtEl>
                                          <p:spTgt spid="27"/>
                                        </p:tgtEl>
                                        <p:attrNameLst>
                                          <p:attrName>style.visibility</p:attrName>
                                        </p:attrNameLst>
                                      </p:cBhvr>
                                      <p:to>
                                        <p:strVal val="visible"/>
                                      </p:to>
                                    </p:set>
                                    <p:animEffect transition="in" filter="wipe(down)">
                                      <p:cBhvr>
                                        <p:cTn id="85"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bldLvl="0" animBg="1"/>
      <p:bldP spid="9" grpId="0" bldLvl="0" animBg="1"/>
      <p:bldP spid="10" grpId="0" bldLvl="0" animBg="1"/>
      <p:bldP spid="11" grpId="0" bldLvl="0" animBg="1"/>
      <p:bldP spid="12" grpId="0"/>
      <p:bldP spid="13" grpId="0" bldLvl="0" animBg="1"/>
      <p:bldP spid="15" grpId="0" bldLvl="0" animBg="1"/>
      <p:bldP spid="17" grpId="0" bldLvl="0" animBg="1"/>
      <p:bldP spid="19" grpId="0" bldLvl="0" animBg="1"/>
      <p:bldP spid="21" grpId="0" bldLvl="0" animBg="1"/>
      <p:bldP spid="23" grpId="0"/>
      <p:bldP spid="24" grpId="0"/>
      <p:bldP spid="25" grpId="0"/>
      <p:bldP spid="26" grpId="0"/>
      <p:bldP spid="2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1238278" y="1426916"/>
            <a:ext cx="9404800" cy="4486930"/>
            <a:chOff x="1152525" y="1617135"/>
            <a:chExt cx="10096499" cy="4816930"/>
          </a:xfrm>
        </p:grpSpPr>
        <p:sp>
          <p:nvSpPr>
            <p:cNvPr id="5" name="任意多边形 42"/>
            <p:cNvSpPr/>
            <p:nvPr/>
          </p:nvSpPr>
          <p:spPr>
            <a:xfrm>
              <a:off x="1152525" y="2357364"/>
              <a:ext cx="4276725" cy="0"/>
            </a:xfrm>
            <a:custGeom>
              <a:avLst/>
              <a:gdLst>
                <a:gd name="connsiteX0" fmla="*/ 4276725 w 4276725"/>
                <a:gd name="connsiteY0" fmla="*/ 0 h 0"/>
                <a:gd name="connsiteX1" fmla="*/ 0 w 4276725"/>
                <a:gd name="connsiteY1" fmla="*/ 0 h 0"/>
              </a:gdLst>
              <a:ahLst/>
              <a:cxnLst>
                <a:cxn ang="0">
                  <a:pos x="connsiteX0" y="connsiteY0"/>
                </a:cxn>
                <a:cxn ang="0">
                  <a:pos x="connsiteX1" y="connsiteY1"/>
                </a:cxn>
              </a:cxnLst>
              <a:rect l="l" t="t" r="r" b="b"/>
              <a:pathLst>
                <a:path w="4276725">
                  <a:moveTo>
                    <a:pt x="4276725"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6" name="任意多边形 43"/>
            <p:cNvSpPr/>
            <p:nvPr/>
          </p:nvSpPr>
          <p:spPr>
            <a:xfrm>
              <a:off x="1152526" y="4729089"/>
              <a:ext cx="3848100" cy="82694"/>
            </a:xfrm>
            <a:custGeom>
              <a:avLst/>
              <a:gdLst>
                <a:gd name="connsiteX0" fmla="*/ 4276725 w 4276725"/>
                <a:gd name="connsiteY0" fmla="*/ 0 h 0"/>
                <a:gd name="connsiteX1" fmla="*/ 0 w 4276725"/>
                <a:gd name="connsiteY1" fmla="*/ 0 h 0"/>
              </a:gdLst>
              <a:ahLst/>
              <a:cxnLst>
                <a:cxn ang="0">
                  <a:pos x="connsiteX0" y="connsiteY0"/>
                </a:cxn>
                <a:cxn ang="0">
                  <a:pos x="connsiteX1" y="connsiteY1"/>
                </a:cxn>
              </a:cxnLst>
              <a:rect l="l" t="t" r="r" b="b"/>
              <a:pathLst>
                <a:path w="4276725">
                  <a:moveTo>
                    <a:pt x="4276725"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7" name="任意多边形 44"/>
            <p:cNvSpPr/>
            <p:nvPr/>
          </p:nvSpPr>
          <p:spPr>
            <a:xfrm>
              <a:off x="7229476" y="3341745"/>
              <a:ext cx="3848100" cy="82694"/>
            </a:xfrm>
            <a:custGeom>
              <a:avLst/>
              <a:gdLst>
                <a:gd name="connsiteX0" fmla="*/ 4276725 w 4276725"/>
                <a:gd name="connsiteY0" fmla="*/ 0 h 0"/>
                <a:gd name="connsiteX1" fmla="*/ 0 w 4276725"/>
                <a:gd name="connsiteY1" fmla="*/ 0 h 0"/>
              </a:gdLst>
              <a:ahLst/>
              <a:cxnLst>
                <a:cxn ang="0">
                  <a:pos x="connsiteX0" y="connsiteY0"/>
                </a:cxn>
                <a:cxn ang="0">
                  <a:pos x="connsiteX1" y="connsiteY1"/>
                </a:cxn>
              </a:cxnLst>
              <a:rect l="l" t="t" r="r" b="b"/>
              <a:pathLst>
                <a:path w="4276725">
                  <a:moveTo>
                    <a:pt x="4276725"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8" name="任意多边形 45"/>
            <p:cNvSpPr/>
            <p:nvPr/>
          </p:nvSpPr>
          <p:spPr>
            <a:xfrm>
              <a:off x="6543675" y="5778362"/>
              <a:ext cx="4705349" cy="141352"/>
            </a:xfrm>
            <a:custGeom>
              <a:avLst/>
              <a:gdLst>
                <a:gd name="connsiteX0" fmla="*/ 4276725 w 4276725"/>
                <a:gd name="connsiteY0" fmla="*/ 0 h 0"/>
                <a:gd name="connsiteX1" fmla="*/ 0 w 4276725"/>
                <a:gd name="connsiteY1" fmla="*/ 0 h 0"/>
              </a:gdLst>
              <a:ahLst/>
              <a:cxnLst>
                <a:cxn ang="0">
                  <a:pos x="connsiteX0" y="connsiteY0"/>
                </a:cxn>
                <a:cxn ang="0">
                  <a:pos x="connsiteX1" y="connsiteY1"/>
                </a:cxn>
              </a:cxnLst>
              <a:rect l="l" t="t" r="r" b="b"/>
              <a:pathLst>
                <a:path w="4276725">
                  <a:moveTo>
                    <a:pt x="4276725"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grpSp>
          <p:nvGrpSpPr>
            <p:cNvPr id="9" name="组合 8"/>
            <p:cNvGrpSpPr/>
            <p:nvPr/>
          </p:nvGrpSpPr>
          <p:grpSpPr>
            <a:xfrm>
              <a:off x="4412365" y="3341745"/>
              <a:ext cx="1339007" cy="3092320"/>
              <a:chOff x="4412365" y="3032256"/>
              <a:chExt cx="1339007" cy="3092320"/>
            </a:xfrm>
          </p:grpSpPr>
          <p:sp>
            <p:nvSpPr>
              <p:cNvPr id="10" name="任意多边形 47"/>
              <p:cNvSpPr/>
              <p:nvPr/>
            </p:nvSpPr>
            <p:spPr bwMode="auto">
              <a:xfrm>
                <a:off x="4412365" y="3032256"/>
                <a:ext cx="1339007" cy="3092320"/>
              </a:xfrm>
              <a:custGeom>
                <a:avLst/>
                <a:gdLst>
                  <a:gd name="connsiteX0" fmla="*/ 1703388 w 1703388"/>
                  <a:gd name="connsiteY0" fmla="*/ 3200399 h 3933826"/>
                  <a:gd name="connsiteX1" fmla="*/ 854076 w 1703388"/>
                  <a:gd name="connsiteY1" fmla="*/ 3933826 h 3933826"/>
                  <a:gd name="connsiteX2" fmla="*/ 0 w 1703388"/>
                  <a:gd name="connsiteY2" fmla="*/ 3200399 h 3933826"/>
                  <a:gd name="connsiteX3" fmla="*/ 420688 w 1703388"/>
                  <a:gd name="connsiteY3" fmla="*/ 3200399 h 3933826"/>
                  <a:gd name="connsiteX4" fmla="*/ 420688 w 1703388"/>
                  <a:gd name="connsiteY4" fmla="*/ 679450 h 3933826"/>
                  <a:gd name="connsiteX5" fmla="*/ 1285876 w 1703388"/>
                  <a:gd name="connsiteY5" fmla="*/ 0 h 3933826"/>
                  <a:gd name="connsiteX6" fmla="*/ 1285876 w 1703388"/>
                  <a:gd name="connsiteY6" fmla="*/ 3200399 h 393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3388" h="3933826">
                    <a:moveTo>
                      <a:pt x="1703388" y="3200399"/>
                    </a:moveTo>
                    <a:lnTo>
                      <a:pt x="854076" y="3933826"/>
                    </a:lnTo>
                    <a:lnTo>
                      <a:pt x="0" y="3200399"/>
                    </a:lnTo>
                    <a:lnTo>
                      <a:pt x="420688" y="3200399"/>
                    </a:lnTo>
                    <a:lnTo>
                      <a:pt x="420688" y="679450"/>
                    </a:lnTo>
                    <a:lnTo>
                      <a:pt x="1285876" y="0"/>
                    </a:lnTo>
                    <a:lnTo>
                      <a:pt x="1285876" y="3200399"/>
                    </a:lnTo>
                    <a:close/>
                  </a:path>
                </a:pathLst>
              </a:custGeom>
              <a:solidFill>
                <a:schemeClr val="accent1"/>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dirty="0">
                  <a:latin typeface="Source Han Sans HW SC" panose="020F0502020204030204"/>
                  <a:ea typeface="庞门正道标题体" panose="02010600030101010101" pitchFamily="2" charset="-122"/>
                  <a:sym typeface="Source Han Sans HW SC" panose="020F0502020204030204"/>
                </a:endParaRPr>
              </a:p>
            </p:txBody>
          </p:sp>
          <p:sp>
            <p:nvSpPr>
              <p:cNvPr id="11" name="矩形 10"/>
              <p:cNvSpPr/>
              <p:nvPr/>
            </p:nvSpPr>
            <p:spPr>
              <a:xfrm>
                <a:off x="4716802" y="5225063"/>
                <a:ext cx="729701" cy="706946"/>
              </a:xfrm>
              <a:prstGeom prst="rect">
                <a:avLst/>
              </a:prstGeom>
            </p:spPr>
            <p:txBody>
              <a:bodyPr wrap="square">
                <a:spAutoFit/>
              </a:bodyPr>
              <a:lstStyle/>
              <a:p>
                <a:pPr algn="ctr"/>
                <a:r>
                  <a:rPr lang="en-US" altLang="zh-CN" sz="3680" b="1" dirty="0">
                    <a:solidFill>
                      <a:srgbClr val="FFFFFF"/>
                    </a:solidFill>
                    <a:latin typeface="Source Han Sans HW SC" panose="020F0502020204030204"/>
                    <a:ea typeface="庞门正道标题体" panose="02010600030101010101" pitchFamily="2" charset="-122"/>
                    <a:sym typeface="Source Han Sans HW SC" panose="020F0502020204030204"/>
                  </a:rPr>
                  <a:t>03</a:t>
                </a:r>
                <a:endParaRPr lang="zh-CN" altLang="en-US" sz="3680" b="1"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12" name="Freeform 14"/>
              <p:cNvSpPr>
                <a:spLocks noChangeAspect="1" noEditPoints="1"/>
              </p:cNvSpPr>
              <p:nvPr/>
            </p:nvSpPr>
            <p:spPr bwMode="auto">
              <a:xfrm>
                <a:off x="4871284" y="3832629"/>
                <a:ext cx="350534" cy="349122"/>
              </a:xfrm>
              <a:custGeom>
                <a:avLst/>
                <a:gdLst>
                  <a:gd name="T0" fmla="*/ 359 w 605"/>
                  <a:gd name="T1" fmla="*/ 39 h 602"/>
                  <a:gd name="T2" fmla="*/ 462 w 605"/>
                  <a:gd name="T3" fmla="*/ 85 h 602"/>
                  <a:gd name="T4" fmla="*/ 537 w 605"/>
                  <a:gd name="T5" fmla="*/ 168 h 602"/>
                  <a:gd name="T6" fmla="*/ 572 w 605"/>
                  <a:gd name="T7" fmla="*/ 275 h 602"/>
                  <a:gd name="T8" fmla="*/ 560 w 605"/>
                  <a:gd name="T9" fmla="*/ 387 h 602"/>
                  <a:gd name="T10" fmla="*/ 504 w 605"/>
                  <a:gd name="T11" fmla="*/ 484 h 602"/>
                  <a:gd name="T12" fmla="*/ 413 w 605"/>
                  <a:gd name="T13" fmla="*/ 551 h 602"/>
                  <a:gd name="T14" fmla="*/ 303 w 605"/>
                  <a:gd name="T15" fmla="*/ 574 h 602"/>
                  <a:gd name="T16" fmla="*/ 193 w 605"/>
                  <a:gd name="T17" fmla="*/ 551 h 602"/>
                  <a:gd name="T18" fmla="*/ 102 w 605"/>
                  <a:gd name="T19" fmla="*/ 484 h 602"/>
                  <a:gd name="T20" fmla="*/ 46 w 605"/>
                  <a:gd name="T21" fmla="*/ 387 h 602"/>
                  <a:gd name="T22" fmla="*/ 34 w 605"/>
                  <a:gd name="T23" fmla="*/ 275 h 602"/>
                  <a:gd name="T24" fmla="*/ 69 w 605"/>
                  <a:gd name="T25" fmla="*/ 168 h 602"/>
                  <a:gd name="T26" fmla="*/ 144 w 605"/>
                  <a:gd name="T27" fmla="*/ 85 h 602"/>
                  <a:gd name="T28" fmla="*/ 247 w 605"/>
                  <a:gd name="T29" fmla="*/ 39 h 602"/>
                  <a:gd name="T30" fmla="*/ 359 w 605"/>
                  <a:gd name="T31" fmla="*/ 39 h 602"/>
                  <a:gd name="T32" fmla="*/ 376 w 605"/>
                  <a:gd name="T33" fmla="*/ 379 h 602"/>
                  <a:gd name="T34" fmla="*/ 376 w 605"/>
                  <a:gd name="T35" fmla="*/ 379 h 602"/>
                  <a:gd name="T36" fmla="*/ 412 w 605"/>
                  <a:gd name="T37" fmla="*/ 419 h 602"/>
                  <a:gd name="T38" fmla="*/ 397 w 605"/>
                  <a:gd name="T39" fmla="*/ 332 h 602"/>
                  <a:gd name="T40" fmla="*/ 376 w 605"/>
                  <a:gd name="T41" fmla="*/ 379 h 602"/>
                  <a:gd name="T42" fmla="*/ 186 w 605"/>
                  <a:gd name="T43" fmla="*/ 222 h 602"/>
                  <a:gd name="T44" fmla="*/ 186 w 605"/>
                  <a:gd name="T45" fmla="*/ 222 h 602"/>
                  <a:gd name="T46" fmla="*/ 221 w 605"/>
                  <a:gd name="T47" fmla="*/ 261 h 602"/>
                  <a:gd name="T48" fmla="*/ 207 w 605"/>
                  <a:gd name="T49" fmla="*/ 175 h 602"/>
                  <a:gd name="T50" fmla="*/ 186 w 605"/>
                  <a:gd name="T51" fmla="*/ 222 h 602"/>
                  <a:gd name="T52" fmla="*/ 141 w 605"/>
                  <a:gd name="T53" fmla="*/ 222 h 602"/>
                  <a:gd name="T54" fmla="*/ 141 w 605"/>
                  <a:gd name="T55" fmla="*/ 222 h 602"/>
                  <a:gd name="T56" fmla="*/ 256 w 605"/>
                  <a:gd name="T57" fmla="*/ 162 h 602"/>
                  <a:gd name="T58" fmla="*/ 208 w 605"/>
                  <a:gd name="T59" fmla="*/ 301 h 602"/>
                  <a:gd name="T60" fmla="*/ 141 w 605"/>
                  <a:gd name="T61" fmla="*/ 222 h 602"/>
                  <a:gd name="T62" fmla="*/ 244 w 605"/>
                  <a:gd name="T63" fmla="*/ 460 h 602"/>
                  <a:gd name="T64" fmla="*/ 244 w 605"/>
                  <a:gd name="T65" fmla="*/ 460 h 602"/>
                  <a:gd name="T66" fmla="*/ 201 w 605"/>
                  <a:gd name="T67" fmla="*/ 460 h 602"/>
                  <a:gd name="T68" fmla="*/ 362 w 605"/>
                  <a:gd name="T69" fmla="*/ 141 h 602"/>
                  <a:gd name="T70" fmla="*/ 404 w 605"/>
                  <a:gd name="T71" fmla="*/ 141 h 602"/>
                  <a:gd name="T72" fmla="*/ 244 w 605"/>
                  <a:gd name="T73" fmla="*/ 460 h 602"/>
                  <a:gd name="T74" fmla="*/ 331 w 605"/>
                  <a:gd name="T75" fmla="*/ 379 h 602"/>
                  <a:gd name="T76" fmla="*/ 331 w 605"/>
                  <a:gd name="T77" fmla="*/ 379 h 602"/>
                  <a:gd name="T78" fmla="*/ 446 w 605"/>
                  <a:gd name="T79" fmla="*/ 319 h 602"/>
                  <a:gd name="T80" fmla="*/ 398 w 605"/>
                  <a:gd name="T81" fmla="*/ 459 h 602"/>
                  <a:gd name="T82" fmla="*/ 331 w 605"/>
                  <a:gd name="T83" fmla="*/ 379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5" h="602">
                    <a:moveTo>
                      <a:pt x="359" y="39"/>
                    </a:moveTo>
                    <a:cubicBezTo>
                      <a:pt x="435" y="31"/>
                      <a:pt x="417" y="22"/>
                      <a:pt x="462" y="85"/>
                    </a:cubicBezTo>
                    <a:cubicBezTo>
                      <a:pt x="535" y="108"/>
                      <a:pt x="521" y="93"/>
                      <a:pt x="537" y="168"/>
                    </a:cubicBezTo>
                    <a:cubicBezTo>
                      <a:pt x="594" y="219"/>
                      <a:pt x="588" y="200"/>
                      <a:pt x="572" y="275"/>
                    </a:cubicBezTo>
                    <a:cubicBezTo>
                      <a:pt x="603" y="345"/>
                      <a:pt x="605" y="325"/>
                      <a:pt x="560" y="387"/>
                    </a:cubicBezTo>
                    <a:cubicBezTo>
                      <a:pt x="560" y="464"/>
                      <a:pt x="570" y="446"/>
                      <a:pt x="504" y="484"/>
                    </a:cubicBezTo>
                    <a:cubicBezTo>
                      <a:pt x="473" y="555"/>
                      <a:pt x="489" y="543"/>
                      <a:pt x="413" y="551"/>
                    </a:cubicBezTo>
                    <a:cubicBezTo>
                      <a:pt x="356" y="602"/>
                      <a:pt x="376" y="598"/>
                      <a:pt x="303" y="574"/>
                    </a:cubicBezTo>
                    <a:cubicBezTo>
                      <a:pt x="230" y="598"/>
                      <a:pt x="250" y="602"/>
                      <a:pt x="193" y="551"/>
                    </a:cubicBezTo>
                    <a:cubicBezTo>
                      <a:pt x="116" y="543"/>
                      <a:pt x="133" y="555"/>
                      <a:pt x="102" y="484"/>
                    </a:cubicBezTo>
                    <a:cubicBezTo>
                      <a:pt x="35" y="446"/>
                      <a:pt x="45" y="464"/>
                      <a:pt x="46" y="387"/>
                    </a:cubicBezTo>
                    <a:cubicBezTo>
                      <a:pt x="0" y="325"/>
                      <a:pt x="2" y="345"/>
                      <a:pt x="34" y="275"/>
                    </a:cubicBezTo>
                    <a:cubicBezTo>
                      <a:pt x="18" y="200"/>
                      <a:pt x="11" y="219"/>
                      <a:pt x="69" y="168"/>
                    </a:cubicBezTo>
                    <a:cubicBezTo>
                      <a:pt x="84" y="93"/>
                      <a:pt x="71" y="108"/>
                      <a:pt x="144" y="85"/>
                    </a:cubicBezTo>
                    <a:cubicBezTo>
                      <a:pt x="189" y="22"/>
                      <a:pt x="170" y="31"/>
                      <a:pt x="247" y="39"/>
                    </a:cubicBezTo>
                    <a:cubicBezTo>
                      <a:pt x="313" y="0"/>
                      <a:pt x="293" y="0"/>
                      <a:pt x="359" y="39"/>
                    </a:cubicBezTo>
                    <a:close/>
                    <a:moveTo>
                      <a:pt x="376" y="379"/>
                    </a:moveTo>
                    <a:lnTo>
                      <a:pt x="376" y="379"/>
                    </a:lnTo>
                    <a:cubicBezTo>
                      <a:pt x="376" y="443"/>
                      <a:pt x="406" y="427"/>
                      <a:pt x="412" y="419"/>
                    </a:cubicBezTo>
                    <a:cubicBezTo>
                      <a:pt x="418" y="409"/>
                      <a:pt x="429" y="332"/>
                      <a:pt x="397" y="332"/>
                    </a:cubicBezTo>
                    <a:cubicBezTo>
                      <a:pt x="378" y="332"/>
                      <a:pt x="376" y="356"/>
                      <a:pt x="376" y="379"/>
                    </a:cubicBezTo>
                    <a:close/>
                    <a:moveTo>
                      <a:pt x="186" y="222"/>
                    </a:moveTo>
                    <a:lnTo>
                      <a:pt x="186" y="222"/>
                    </a:lnTo>
                    <a:cubicBezTo>
                      <a:pt x="186" y="286"/>
                      <a:pt x="217" y="268"/>
                      <a:pt x="221" y="261"/>
                    </a:cubicBezTo>
                    <a:cubicBezTo>
                      <a:pt x="228" y="251"/>
                      <a:pt x="238" y="175"/>
                      <a:pt x="207" y="175"/>
                    </a:cubicBezTo>
                    <a:cubicBezTo>
                      <a:pt x="188" y="175"/>
                      <a:pt x="186" y="199"/>
                      <a:pt x="186" y="222"/>
                    </a:cubicBezTo>
                    <a:close/>
                    <a:moveTo>
                      <a:pt x="141" y="222"/>
                    </a:moveTo>
                    <a:lnTo>
                      <a:pt x="141" y="222"/>
                    </a:lnTo>
                    <a:cubicBezTo>
                      <a:pt x="141" y="124"/>
                      <a:pt x="229" y="132"/>
                      <a:pt x="256" y="162"/>
                    </a:cubicBezTo>
                    <a:cubicBezTo>
                      <a:pt x="282" y="190"/>
                      <a:pt x="291" y="301"/>
                      <a:pt x="208" y="301"/>
                    </a:cubicBezTo>
                    <a:cubicBezTo>
                      <a:pt x="160" y="301"/>
                      <a:pt x="141" y="269"/>
                      <a:pt x="141" y="222"/>
                    </a:cubicBezTo>
                    <a:close/>
                    <a:moveTo>
                      <a:pt x="244" y="460"/>
                    </a:moveTo>
                    <a:lnTo>
                      <a:pt x="244" y="460"/>
                    </a:lnTo>
                    <a:cubicBezTo>
                      <a:pt x="230" y="460"/>
                      <a:pt x="216" y="460"/>
                      <a:pt x="201" y="460"/>
                    </a:cubicBezTo>
                    <a:cubicBezTo>
                      <a:pt x="255" y="354"/>
                      <a:pt x="309" y="247"/>
                      <a:pt x="362" y="141"/>
                    </a:cubicBezTo>
                    <a:cubicBezTo>
                      <a:pt x="376" y="141"/>
                      <a:pt x="390" y="141"/>
                      <a:pt x="404" y="141"/>
                    </a:cubicBezTo>
                    <a:cubicBezTo>
                      <a:pt x="351" y="247"/>
                      <a:pt x="298" y="354"/>
                      <a:pt x="244" y="460"/>
                    </a:cubicBezTo>
                    <a:close/>
                    <a:moveTo>
                      <a:pt x="331" y="379"/>
                    </a:moveTo>
                    <a:lnTo>
                      <a:pt x="331" y="379"/>
                    </a:lnTo>
                    <a:cubicBezTo>
                      <a:pt x="331" y="282"/>
                      <a:pt x="419" y="289"/>
                      <a:pt x="446" y="319"/>
                    </a:cubicBezTo>
                    <a:cubicBezTo>
                      <a:pt x="473" y="348"/>
                      <a:pt x="481" y="459"/>
                      <a:pt x="398" y="459"/>
                    </a:cubicBezTo>
                    <a:cubicBezTo>
                      <a:pt x="351" y="459"/>
                      <a:pt x="331" y="427"/>
                      <a:pt x="331" y="379"/>
                    </a:cubicBezTo>
                    <a:close/>
                  </a:path>
                </a:pathLst>
              </a:custGeom>
              <a:solidFill>
                <a:srgbClr val="FFFFFF"/>
              </a:solidFill>
              <a:ln>
                <a:noFill/>
              </a:ln>
            </p:spPr>
            <p:txBody>
              <a:bodyPr vert="horz" wrap="square" lIns="120140" tIns="60070" rIns="120140" bIns="60070" numCol="1" anchor="t" anchorCtr="0" compatLnSpc="1"/>
              <a:lstStyle/>
              <a:p>
                <a:endParaRPr lang="zh-CN" altLang="en-US" sz="2365">
                  <a:solidFill>
                    <a:schemeClr val="accent2"/>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13" name="组合 12"/>
            <p:cNvGrpSpPr/>
            <p:nvPr/>
          </p:nvGrpSpPr>
          <p:grpSpPr>
            <a:xfrm>
              <a:off x="5092475" y="1977782"/>
              <a:ext cx="1336511" cy="2834001"/>
              <a:chOff x="5092475" y="1668293"/>
              <a:chExt cx="1336511" cy="2834001"/>
            </a:xfrm>
          </p:grpSpPr>
          <p:sp>
            <p:nvSpPr>
              <p:cNvPr id="14" name="任意多边形 51"/>
              <p:cNvSpPr/>
              <p:nvPr/>
            </p:nvSpPr>
            <p:spPr bwMode="auto">
              <a:xfrm>
                <a:off x="5092475" y="1668293"/>
                <a:ext cx="1336511" cy="2834001"/>
              </a:xfrm>
              <a:custGeom>
                <a:avLst/>
                <a:gdLst>
                  <a:gd name="connsiteX0" fmla="*/ 1700213 w 1700213"/>
                  <a:gd name="connsiteY0" fmla="*/ 731838 h 3605212"/>
                  <a:gd name="connsiteX1" fmla="*/ 1282701 w 1700213"/>
                  <a:gd name="connsiteY1" fmla="*/ 731838 h 3605212"/>
                  <a:gd name="connsiteX2" fmla="*/ 1282701 w 1700213"/>
                  <a:gd name="connsiteY2" fmla="*/ 3605212 h 3605212"/>
                  <a:gd name="connsiteX3" fmla="*/ 420688 w 1700213"/>
                  <a:gd name="connsiteY3" fmla="*/ 2925762 h 3605212"/>
                  <a:gd name="connsiteX4" fmla="*/ 420688 w 1700213"/>
                  <a:gd name="connsiteY4" fmla="*/ 1735137 h 3605212"/>
                  <a:gd name="connsiteX5" fmla="*/ 417513 w 1700213"/>
                  <a:gd name="connsiteY5" fmla="*/ 1735137 h 3605212"/>
                  <a:gd name="connsiteX6" fmla="*/ 417513 w 1700213"/>
                  <a:gd name="connsiteY6" fmla="*/ 731838 h 3605212"/>
                  <a:gd name="connsiteX7" fmla="*/ 417513 w 1700213"/>
                  <a:gd name="connsiteY7" fmla="*/ 731838 h 3605212"/>
                  <a:gd name="connsiteX8" fmla="*/ 0 w 1700213"/>
                  <a:gd name="connsiteY8" fmla="*/ 731838 h 3605212"/>
                  <a:gd name="connsiteX9" fmla="*/ 849313 w 1700213"/>
                  <a:gd name="connsiteY9" fmla="*/ 0 h 360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0213" h="3605212">
                    <a:moveTo>
                      <a:pt x="1700213" y="731838"/>
                    </a:moveTo>
                    <a:lnTo>
                      <a:pt x="1282701" y="731838"/>
                    </a:lnTo>
                    <a:lnTo>
                      <a:pt x="1282701" y="3605212"/>
                    </a:lnTo>
                    <a:lnTo>
                      <a:pt x="420688" y="2925762"/>
                    </a:lnTo>
                    <a:lnTo>
                      <a:pt x="420688" y="1735137"/>
                    </a:lnTo>
                    <a:lnTo>
                      <a:pt x="417513" y="1735137"/>
                    </a:lnTo>
                    <a:lnTo>
                      <a:pt x="417513" y="731838"/>
                    </a:lnTo>
                    <a:lnTo>
                      <a:pt x="417513" y="731838"/>
                    </a:lnTo>
                    <a:lnTo>
                      <a:pt x="0" y="731838"/>
                    </a:lnTo>
                    <a:lnTo>
                      <a:pt x="849313" y="0"/>
                    </a:lnTo>
                    <a:close/>
                  </a:path>
                </a:pathLst>
              </a:custGeom>
              <a:solidFill>
                <a:schemeClr val="accent2"/>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15" name="矩形 14"/>
              <p:cNvSpPr/>
              <p:nvPr/>
            </p:nvSpPr>
            <p:spPr>
              <a:xfrm>
                <a:off x="5372172" y="2033338"/>
                <a:ext cx="729701" cy="706946"/>
              </a:xfrm>
              <a:prstGeom prst="rect">
                <a:avLst/>
              </a:prstGeom>
            </p:spPr>
            <p:txBody>
              <a:bodyPr wrap="square">
                <a:spAutoFit/>
              </a:bodyPr>
              <a:lstStyle/>
              <a:p>
                <a:pPr algn="ctr"/>
                <a:r>
                  <a:rPr lang="en-US" altLang="zh-CN" sz="3680" b="1" dirty="0">
                    <a:solidFill>
                      <a:srgbClr val="FFFFFF"/>
                    </a:solidFill>
                    <a:latin typeface="Source Han Sans HW SC" panose="020F0502020204030204"/>
                    <a:ea typeface="庞门正道标题体" panose="02010600030101010101" pitchFamily="2" charset="-122"/>
                    <a:sym typeface="Source Han Sans HW SC" panose="020F0502020204030204"/>
                  </a:rPr>
                  <a:t>01</a:t>
                </a:r>
                <a:endParaRPr lang="zh-CN" altLang="en-US" sz="3680" b="1"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16" name="Freeform 26"/>
              <p:cNvSpPr>
                <a:spLocks noEditPoints="1"/>
              </p:cNvSpPr>
              <p:nvPr/>
            </p:nvSpPr>
            <p:spPr bwMode="auto">
              <a:xfrm>
                <a:off x="5620454" y="3510380"/>
                <a:ext cx="296775" cy="311802"/>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FFFFF"/>
              </a:solidFill>
              <a:ln>
                <a:noFill/>
              </a:ln>
            </p:spPr>
            <p:txBody>
              <a:bodyPr vert="horz" wrap="square" lIns="120140" tIns="60070" rIns="120140" bIns="60070" numCol="1" anchor="t" anchorCtr="0" compatLnSpc="1"/>
              <a:lstStyle/>
              <a:p>
                <a:endParaRPr lang="zh-CN" altLang="en-US" sz="2365">
                  <a:solidFill>
                    <a:schemeClr val="accent2"/>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17" name="组合 16"/>
            <p:cNvGrpSpPr/>
            <p:nvPr/>
          </p:nvGrpSpPr>
          <p:grpSpPr>
            <a:xfrm>
              <a:off x="6441465" y="1617135"/>
              <a:ext cx="1340254" cy="3537823"/>
              <a:chOff x="6441465" y="1307646"/>
              <a:chExt cx="1340254" cy="3537823"/>
            </a:xfrm>
          </p:grpSpPr>
          <p:sp>
            <p:nvSpPr>
              <p:cNvPr id="18" name="任意多边形 55"/>
              <p:cNvSpPr/>
              <p:nvPr/>
            </p:nvSpPr>
            <p:spPr bwMode="auto">
              <a:xfrm>
                <a:off x="6441465" y="1307646"/>
                <a:ext cx="1340254" cy="3537823"/>
              </a:xfrm>
              <a:custGeom>
                <a:avLst/>
                <a:gdLst>
                  <a:gd name="connsiteX0" fmla="*/ 1704975 w 1704975"/>
                  <a:gd name="connsiteY0" fmla="*/ 731838 h 4500563"/>
                  <a:gd name="connsiteX1" fmla="*/ 1282701 w 1704975"/>
                  <a:gd name="connsiteY1" fmla="*/ 731838 h 4500563"/>
                  <a:gd name="connsiteX2" fmla="*/ 1282701 w 1704975"/>
                  <a:gd name="connsiteY2" fmla="*/ 3816350 h 4500563"/>
                  <a:gd name="connsiteX3" fmla="*/ 422276 w 1704975"/>
                  <a:gd name="connsiteY3" fmla="*/ 4500563 h 4500563"/>
                  <a:gd name="connsiteX4" fmla="*/ 422276 w 1704975"/>
                  <a:gd name="connsiteY4" fmla="*/ 731838 h 4500563"/>
                  <a:gd name="connsiteX5" fmla="*/ 422275 w 1704975"/>
                  <a:gd name="connsiteY5" fmla="*/ 731838 h 4500563"/>
                  <a:gd name="connsiteX6" fmla="*/ 0 w 1704975"/>
                  <a:gd name="connsiteY6" fmla="*/ 731838 h 4500563"/>
                  <a:gd name="connsiteX7" fmla="*/ 850900 w 1704975"/>
                  <a:gd name="connsiteY7" fmla="*/ 0 h 450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4975" h="4500563">
                    <a:moveTo>
                      <a:pt x="1704975" y="731838"/>
                    </a:moveTo>
                    <a:lnTo>
                      <a:pt x="1282701" y="731838"/>
                    </a:lnTo>
                    <a:lnTo>
                      <a:pt x="1282701" y="3816350"/>
                    </a:lnTo>
                    <a:lnTo>
                      <a:pt x="422276" y="4500563"/>
                    </a:lnTo>
                    <a:lnTo>
                      <a:pt x="422276" y="731838"/>
                    </a:lnTo>
                    <a:lnTo>
                      <a:pt x="422275" y="731838"/>
                    </a:lnTo>
                    <a:lnTo>
                      <a:pt x="0" y="731838"/>
                    </a:lnTo>
                    <a:lnTo>
                      <a:pt x="850900" y="0"/>
                    </a:lnTo>
                    <a:close/>
                  </a:path>
                </a:pathLst>
              </a:custGeom>
              <a:solidFill>
                <a:schemeClr val="accent2"/>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19" name="矩形 18"/>
              <p:cNvSpPr/>
              <p:nvPr/>
            </p:nvSpPr>
            <p:spPr>
              <a:xfrm>
                <a:off x="6736757" y="1556393"/>
                <a:ext cx="729701" cy="706946"/>
              </a:xfrm>
              <a:prstGeom prst="rect">
                <a:avLst/>
              </a:prstGeom>
            </p:spPr>
            <p:txBody>
              <a:bodyPr wrap="square">
                <a:spAutoFit/>
              </a:bodyPr>
              <a:lstStyle/>
              <a:p>
                <a:pPr algn="ctr"/>
                <a:r>
                  <a:rPr lang="en-US" altLang="zh-CN" sz="3680" b="1" dirty="0">
                    <a:solidFill>
                      <a:srgbClr val="FFFFFF"/>
                    </a:solidFill>
                    <a:latin typeface="Source Han Sans HW SC" panose="020F0502020204030204"/>
                    <a:ea typeface="庞门正道标题体" panose="02010600030101010101" pitchFamily="2" charset="-122"/>
                    <a:sym typeface="Source Han Sans HW SC" panose="020F0502020204030204"/>
                  </a:rPr>
                  <a:t>02</a:t>
                </a:r>
                <a:endParaRPr lang="zh-CN" altLang="en-US" sz="3680" b="1"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20" name="Freeform 33"/>
              <p:cNvSpPr>
                <a:spLocks noEditPoints="1"/>
              </p:cNvSpPr>
              <p:nvPr/>
            </p:nvSpPr>
            <p:spPr bwMode="auto">
              <a:xfrm>
                <a:off x="6983863" y="3972519"/>
                <a:ext cx="347256" cy="326132"/>
              </a:xfrm>
              <a:custGeom>
                <a:avLst/>
                <a:gdLst>
                  <a:gd name="T0" fmla="*/ 21 w 643"/>
                  <a:gd name="T1" fmla="*/ 477 h 603"/>
                  <a:gd name="T2" fmla="*/ 459 w 643"/>
                  <a:gd name="T3" fmla="*/ 359 h 603"/>
                  <a:gd name="T4" fmla="*/ 420 w 643"/>
                  <a:gd name="T5" fmla="*/ 494 h 603"/>
                  <a:gd name="T6" fmla="*/ 407 w 643"/>
                  <a:gd name="T7" fmla="*/ 377 h 603"/>
                  <a:gd name="T8" fmla="*/ 408 w 643"/>
                  <a:gd name="T9" fmla="*/ 272 h 603"/>
                  <a:gd name="T10" fmla="*/ 397 w 643"/>
                  <a:gd name="T11" fmla="*/ 276 h 603"/>
                  <a:gd name="T12" fmla="*/ 405 w 643"/>
                  <a:gd name="T13" fmla="*/ 292 h 603"/>
                  <a:gd name="T14" fmla="*/ 415 w 643"/>
                  <a:gd name="T15" fmla="*/ 288 h 603"/>
                  <a:gd name="T16" fmla="*/ 356 w 643"/>
                  <a:gd name="T17" fmla="*/ 302 h 603"/>
                  <a:gd name="T18" fmla="*/ 360 w 643"/>
                  <a:gd name="T19" fmla="*/ 322 h 603"/>
                  <a:gd name="T20" fmla="*/ 368 w 643"/>
                  <a:gd name="T21" fmla="*/ 315 h 603"/>
                  <a:gd name="T22" fmla="*/ 324 w 643"/>
                  <a:gd name="T23" fmla="*/ 341 h 603"/>
                  <a:gd name="T24" fmla="*/ 319 w 643"/>
                  <a:gd name="T25" fmla="*/ 351 h 603"/>
                  <a:gd name="T26" fmla="*/ 335 w 643"/>
                  <a:gd name="T27" fmla="*/ 359 h 603"/>
                  <a:gd name="T28" fmla="*/ 340 w 643"/>
                  <a:gd name="T29" fmla="*/ 349 h 603"/>
                  <a:gd name="T30" fmla="*/ 305 w 643"/>
                  <a:gd name="T31" fmla="*/ 399 h 603"/>
                  <a:gd name="T32" fmla="*/ 322 w 643"/>
                  <a:gd name="T33" fmla="*/ 411 h 603"/>
                  <a:gd name="T34" fmla="*/ 323 w 643"/>
                  <a:gd name="T35" fmla="*/ 400 h 603"/>
                  <a:gd name="T36" fmla="*/ 308 w 643"/>
                  <a:gd name="T37" fmla="*/ 450 h 603"/>
                  <a:gd name="T38" fmla="*/ 311 w 643"/>
                  <a:gd name="T39" fmla="*/ 461 h 603"/>
                  <a:gd name="T40" fmla="*/ 327 w 643"/>
                  <a:gd name="T41" fmla="*/ 455 h 603"/>
                  <a:gd name="T42" fmla="*/ 324 w 643"/>
                  <a:gd name="T43" fmla="*/ 444 h 603"/>
                  <a:gd name="T44" fmla="*/ 332 w 643"/>
                  <a:gd name="T45" fmla="*/ 505 h 603"/>
                  <a:gd name="T46" fmla="*/ 353 w 643"/>
                  <a:gd name="T47" fmla="*/ 503 h 603"/>
                  <a:gd name="T48" fmla="*/ 346 w 643"/>
                  <a:gd name="T49" fmla="*/ 495 h 603"/>
                  <a:gd name="T50" fmla="*/ 367 w 643"/>
                  <a:gd name="T51" fmla="*/ 541 h 603"/>
                  <a:gd name="T52" fmla="*/ 377 w 643"/>
                  <a:gd name="T53" fmla="*/ 547 h 603"/>
                  <a:gd name="T54" fmla="*/ 386 w 643"/>
                  <a:gd name="T55" fmla="*/ 532 h 603"/>
                  <a:gd name="T56" fmla="*/ 377 w 643"/>
                  <a:gd name="T57" fmla="*/ 526 h 603"/>
                  <a:gd name="T58" fmla="*/ 423 w 643"/>
                  <a:gd name="T59" fmla="*/ 566 h 603"/>
                  <a:gd name="T60" fmla="*/ 434 w 643"/>
                  <a:gd name="T61" fmla="*/ 568 h 603"/>
                  <a:gd name="T62" fmla="*/ 427 w 643"/>
                  <a:gd name="T63" fmla="*/ 549 h 603"/>
                  <a:gd name="T64" fmla="*/ 472 w 643"/>
                  <a:gd name="T65" fmla="*/ 569 h 603"/>
                  <a:gd name="T66" fmla="*/ 484 w 643"/>
                  <a:gd name="T67" fmla="*/ 568 h 603"/>
                  <a:gd name="T68" fmla="*/ 483 w 643"/>
                  <a:gd name="T69" fmla="*/ 550 h 603"/>
                  <a:gd name="T70" fmla="*/ 472 w 643"/>
                  <a:gd name="T71" fmla="*/ 552 h 603"/>
                  <a:gd name="T72" fmla="*/ 530 w 643"/>
                  <a:gd name="T73" fmla="*/ 551 h 603"/>
                  <a:gd name="T74" fmla="*/ 540 w 643"/>
                  <a:gd name="T75" fmla="*/ 545 h 603"/>
                  <a:gd name="T76" fmla="*/ 524 w 643"/>
                  <a:gd name="T77" fmla="*/ 535 h 603"/>
                  <a:gd name="T78" fmla="*/ 570 w 643"/>
                  <a:gd name="T79" fmla="*/ 521 h 603"/>
                  <a:gd name="T80" fmla="*/ 577 w 643"/>
                  <a:gd name="T81" fmla="*/ 512 h 603"/>
                  <a:gd name="T82" fmla="*/ 565 w 643"/>
                  <a:gd name="T83" fmla="*/ 499 h 603"/>
                  <a:gd name="T84" fmla="*/ 559 w 643"/>
                  <a:gd name="T85" fmla="*/ 507 h 603"/>
                  <a:gd name="T86" fmla="*/ 601 w 643"/>
                  <a:gd name="T87" fmla="*/ 469 h 603"/>
                  <a:gd name="T88" fmla="*/ 605 w 643"/>
                  <a:gd name="T89" fmla="*/ 457 h 603"/>
                  <a:gd name="T90" fmla="*/ 586 w 643"/>
                  <a:gd name="T91" fmla="*/ 459 h 603"/>
                  <a:gd name="T92" fmla="*/ 610 w 643"/>
                  <a:gd name="T93" fmla="*/ 419 h 603"/>
                  <a:gd name="T94" fmla="*/ 610 w 643"/>
                  <a:gd name="T95" fmla="*/ 408 h 603"/>
                  <a:gd name="T96" fmla="*/ 592 w 643"/>
                  <a:gd name="T97" fmla="*/ 406 h 603"/>
                  <a:gd name="T98" fmla="*/ 593 w 643"/>
                  <a:gd name="T99" fmla="*/ 417 h 603"/>
                  <a:gd name="T100" fmla="*/ 599 w 643"/>
                  <a:gd name="T101" fmla="*/ 358 h 603"/>
                  <a:gd name="T102" fmla="*/ 594 w 643"/>
                  <a:gd name="T103" fmla="*/ 347 h 603"/>
                  <a:gd name="T104" fmla="*/ 581 w 643"/>
                  <a:gd name="T105" fmla="*/ 363 h 603"/>
                  <a:gd name="T106" fmla="*/ 573 w 643"/>
                  <a:gd name="T107" fmla="*/ 316 h 603"/>
                  <a:gd name="T108" fmla="*/ 565 w 643"/>
                  <a:gd name="T109" fmla="*/ 308 h 603"/>
                  <a:gd name="T110" fmla="*/ 550 w 643"/>
                  <a:gd name="T111" fmla="*/ 318 h 603"/>
                  <a:gd name="T112" fmla="*/ 557 w 643"/>
                  <a:gd name="T113" fmla="*/ 326 h 603"/>
                  <a:gd name="T114" fmla="*/ 524 w 643"/>
                  <a:gd name="T115" fmla="*/ 279 h 603"/>
                  <a:gd name="T116" fmla="*/ 513 w 643"/>
                  <a:gd name="T117" fmla="*/ 274 h 603"/>
                  <a:gd name="T118" fmla="*/ 513 w 643"/>
                  <a:gd name="T119" fmla="*/ 293 h 603"/>
                  <a:gd name="T120" fmla="*/ 457 w 643"/>
                  <a:gd name="T121" fmla="*/ 231 h 603"/>
                  <a:gd name="T122" fmla="*/ 358 w 643"/>
                  <a:gd name="T123" fmla="*/ 9 h 603"/>
                  <a:gd name="T124" fmla="*/ 30 w 643"/>
                  <a:gd name="T125" fmla="*/ 15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603">
                    <a:moveTo>
                      <a:pt x="51" y="448"/>
                    </a:moveTo>
                    <a:cubicBezTo>
                      <a:pt x="83" y="445"/>
                      <a:pt x="115" y="443"/>
                      <a:pt x="147" y="442"/>
                    </a:cubicBezTo>
                    <a:cubicBezTo>
                      <a:pt x="127" y="440"/>
                      <a:pt x="108" y="439"/>
                      <a:pt x="88" y="436"/>
                    </a:cubicBezTo>
                    <a:cubicBezTo>
                      <a:pt x="72" y="435"/>
                      <a:pt x="59" y="423"/>
                      <a:pt x="59" y="407"/>
                    </a:cubicBezTo>
                    <a:cubicBezTo>
                      <a:pt x="59" y="383"/>
                      <a:pt x="59" y="359"/>
                      <a:pt x="59" y="335"/>
                    </a:cubicBezTo>
                    <a:cubicBezTo>
                      <a:pt x="59" y="318"/>
                      <a:pt x="72" y="306"/>
                      <a:pt x="88" y="305"/>
                    </a:cubicBezTo>
                    <a:cubicBezTo>
                      <a:pt x="148" y="299"/>
                      <a:pt x="207" y="297"/>
                      <a:pt x="267" y="298"/>
                    </a:cubicBezTo>
                    <a:cubicBezTo>
                      <a:pt x="245" y="333"/>
                      <a:pt x="233" y="373"/>
                      <a:pt x="233" y="417"/>
                    </a:cubicBezTo>
                    <a:cubicBezTo>
                      <a:pt x="233" y="479"/>
                      <a:pt x="258" y="535"/>
                      <a:pt x="299" y="575"/>
                    </a:cubicBezTo>
                    <a:cubicBezTo>
                      <a:pt x="301" y="578"/>
                      <a:pt x="304" y="581"/>
                      <a:pt x="306" y="583"/>
                    </a:cubicBezTo>
                    <a:cubicBezTo>
                      <a:pt x="221" y="590"/>
                      <a:pt x="136" y="588"/>
                      <a:pt x="51" y="579"/>
                    </a:cubicBezTo>
                    <a:cubicBezTo>
                      <a:pt x="35" y="578"/>
                      <a:pt x="21" y="566"/>
                      <a:pt x="21" y="549"/>
                    </a:cubicBezTo>
                    <a:cubicBezTo>
                      <a:pt x="21" y="526"/>
                      <a:pt x="21" y="501"/>
                      <a:pt x="21" y="477"/>
                    </a:cubicBezTo>
                    <a:cubicBezTo>
                      <a:pt x="21" y="461"/>
                      <a:pt x="35" y="449"/>
                      <a:pt x="51" y="448"/>
                    </a:cubicBezTo>
                    <a:close/>
                    <a:moveTo>
                      <a:pt x="442" y="265"/>
                    </a:moveTo>
                    <a:lnTo>
                      <a:pt x="442" y="265"/>
                    </a:lnTo>
                    <a:cubicBezTo>
                      <a:pt x="454" y="263"/>
                      <a:pt x="467" y="262"/>
                      <a:pt x="479" y="265"/>
                    </a:cubicBezTo>
                    <a:cubicBezTo>
                      <a:pt x="478" y="271"/>
                      <a:pt x="478" y="278"/>
                      <a:pt x="477" y="284"/>
                    </a:cubicBezTo>
                    <a:cubicBezTo>
                      <a:pt x="466" y="283"/>
                      <a:pt x="455" y="283"/>
                      <a:pt x="444" y="284"/>
                    </a:cubicBezTo>
                    <a:cubicBezTo>
                      <a:pt x="443" y="278"/>
                      <a:pt x="443" y="271"/>
                      <a:pt x="442" y="265"/>
                    </a:cubicBezTo>
                    <a:close/>
                    <a:moveTo>
                      <a:pt x="510" y="384"/>
                    </a:moveTo>
                    <a:lnTo>
                      <a:pt x="510" y="384"/>
                    </a:lnTo>
                    <a:lnTo>
                      <a:pt x="467" y="384"/>
                    </a:lnTo>
                    <a:lnTo>
                      <a:pt x="467" y="377"/>
                    </a:lnTo>
                    <a:cubicBezTo>
                      <a:pt x="467" y="369"/>
                      <a:pt x="466" y="364"/>
                      <a:pt x="465" y="362"/>
                    </a:cubicBezTo>
                    <a:cubicBezTo>
                      <a:pt x="464" y="360"/>
                      <a:pt x="462" y="359"/>
                      <a:pt x="459" y="359"/>
                    </a:cubicBezTo>
                    <a:cubicBezTo>
                      <a:pt x="456" y="359"/>
                      <a:pt x="454" y="359"/>
                      <a:pt x="453" y="362"/>
                    </a:cubicBezTo>
                    <a:cubicBezTo>
                      <a:pt x="452" y="364"/>
                      <a:pt x="451" y="367"/>
                      <a:pt x="451" y="371"/>
                    </a:cubicBezTo>
                    <a:cubicBezTo>
                      <a:pt x="451" y="377"/>
                      <a:pt x="452" y="382"/>
                      <a:pt x="455" y="385"/>
                    </a:cubicBezTo>
                    <a:cubicBezTo>
                      <a:pt x="458" y="388"/>
                      <a:pt x="466" y="393"/>
                      <a:pt x="478" y="401"/>
                    </a:cubicBezTo>
                    <a:cubicBezTo>
                      <a:pt x="489" y="407"/>
                      <a:pt x="497" y="413"/>
                      <a:pt x="501" y="416"/>
                    </a:cubicBezTo>
                    <a:cubicBezTo>
                      <a:pt x="505" y="420"/>
                      <a:pt x="508" y="425"/>
                      <a:pt x="511" y="431"/>
                    </a:cubicBezTo>
                    <a:cubicBezTo>
                      <a:pt x="514" y="437"/>
                      <a:pt x="515" y="445"/>
                      <a:pt x="515" y="455"/>
                    </a:cubicBezTo>
                    <a:cubicBezTo>
                      <a:pt x="515" y="471"/>
                      <a:pt x="512" y="483"/>
                      <a:pt x="504" y="491"/>
                    </a:cubicBezTo>
                    <a:cubicBezTo>
                      <a:pt x="497" y="500"/>
                      <a:pt x="485" y="506"/>
                      <a:pt x="471" y="508"/>
                    </a:cubicBezTo>
                    <a:lnTo>
                      <a:pt x="471" y="524"/>
                    </a:lnTo>
                    <a:lnTo>
                      <a:pt x="451" y="524"/>
                    </a:lnTo>
                    <a:lnTo>
                      <a:pt x="451" y="507"/>
                    </a:lnTo>
                    <a:cubicBezTo>
                      <a:pt x="439" y="506"/>
                      <a:pt x="429" y="502"/>
                      <a:pt x="420" y="494"/>
                    </a:cubicBezTo>
                    <a:cubicBezTo>
                      <a:pt x="412" y="486"/>
                      <a:pt x="407" y="473"/>
                      <a:pt x="407" y="453"/>
                    </a:cubicBezTo>
                    <a:lnTo>
                      <a:pt x="407" y="445"/>
                    </a:lnTo>
                    <a:lnTo>
                      <a:pt x="451" y="445"/>
                    </a:lnTo>
                    <a:lnTo>
                      <a:pt x="451" y="456"/>
                    </a:lnTo>
                    <a:cubicBezTo>
                      <a:pt x="451" y="467"/>
                      <a:pt x="451" y="474"/>
                      <a:pt x="452" y="477"/>
                    </a:cubicBezTo>
                    <a:cubicBezTo>
                      <a:pt x="453" y="480"/>
                      <a:pt x="455" y="481"/>
                      <a:pt x="458" y="481"/>
                    </a:cubicBezTo>
                    <a:cubicBezTo>
                      <a:pt x="461" y="481"/>
                      <a:pt x="464" y="480"/>
                      <a:pt x="465" y="478"/>
                    </a:cubicBezTo>
                    <a:cubicBezTo>
                      <a:pt x="466" y="476"/>
                      <a:pt x="467" y="473"/>
                      <a:pt x="467" y="470"/>
                    </a:cubicBezTo>
                    <a:cubicBezTo>
                      <a:pt x="467" y="460"/>
                      <a:pt x="466" y="453"/>
                      <a:pt x="465" y="449"/>
                    </a:cubicBezTo>
                    <a:cubicBezTo>
                      <a:pt x="464" y="445"/>
                      <a:pt x="459" y="440"/>
                      <a:pt x="451" y="435"/>
                    </a:cubicBezTo>
                    <a:cubicBezTo>
                      <a:pt x="438" y="427"/>
                      <a:pt x="429" y="421"/>
                      <a:pt x="424" y="417"/>
                    </a:cubicBezTo>
                    <a:cubicBezTo>
                      <a:pt x="420" y="413"/>
                      <a:pt x="415" y="408"/>
                      <a:pt x="412" y="401"/>
                    </a:cubicBezTo>
                    <a:cubicBezTo>
                      <a:pt x="408" y="393"/>
                      <a:pt x="407" y="385"/>
                      <a:pt x="407" y="377"/>
                    </a:cubicBezTo>
                    <a:cubicBezTo>
                      <a:pt x="407" y="364"/>
                      <a:pt x="410" y="354"/>
                      <a:pt x="418" y="346"/>
                    </a:cubicBezTo>
                    <a:cubicBezTo>
                      <a:pt x="425" y="339"/>
                      <a:pt x="436" y="334"/>
                      <a:pt x="451" y="333"/>
                    </a:cubicBezTo>
                    <a:lnTo>
                      <a:pt x="451" y="319"/>
                    </a:lnTo>
                    <a:lnTo>
                      <a:pt x="471" y="319"/>
                    </a:lnTo>
                    <a:lnTo>
                      <a:pt x="471" y="333"/>
                    </a:lnTo>
                    <a:cubicBezTo>
                      <a:pt x="484" y="334"/>
                      <a:pt x="494" y="339"/>
                      <a:pt x="501" y="346"/>
                    </a:cubicBezTo>
                    <a:cubicBezTo>
                      <a:pt x="507" y="353"/>
                      <a:pt x="511" y="363"/>
                      <a:pt x="511" y="376"/>
                    </a:cubicBezTo>
                    <a:cubicBezTo>
                      <a:pt x="511" y="378"/>
                      <a:pt x="510" y="381"/>
                      <a:pt x="510" y="384"/>
                    </a:cubicBezTo>
                    <a:close/>
                    <a:moveTo>
                      <a:pt x="411" y="271"/>
                    </a:moveTo>
                    <a:lnTo>
                      <a:pt x="411" y="271"/>
                    </a:lnTo>
                    <a:lnTo>
                      <a:pt x="410" y="271"/>
                    </a:lnTo>
                    <a:lnTo>
                      <a:pt x="409" y="271"/>
                    </a:lnTo>
                    <a:lnTo>
                      <a:pt x="408" y="272"/>
                    </a:lnTo>
                    <a:lnTo>
                      <a:pt x="407" y="272"/>
                    </a:lnTo>
                    <a:lnTo>
                      <a:pt x="406" y="272"/>
                    </a:lnTo>
                    <a:lnTo>
                      <a:pt x="405" y="273"/>
                    </a:lnTo>
                    <a:lnTo>
                      <a:pt x="405" y="273"/>
                    </a:lnTo>
                    <a:lnTo>
                      <a:pt x="404" y="273"/>
                    </a:lnTo>
                    <a:lnTo>
                      <a:pt x="403" y="274"/>
                    </a:lnTo>
                    <a:lnTo>
                      <a:pt x="402" y="274"/>
                    </a:lnTo>
                    <a:lnTo>
                      <a:pt x="401" y="274"/>
                    </a:lnTo>
                    <a:lnTo>
                      <a:pt x="400" y="275"/>
                    </a:lnTo>
                    <a:lnTo>
                      <a:pt x="399" y="275"/>
                    </a:lnTo>
                    <a:lnTo>
                      <a:pt x="398" y="275"/>
                    </a:lnTo>
                    <a:lnTo>
                      <a:pt x="398" y="276"/>
                    </a:lnTo>
                    <a:lnTo>
                      <a:pt x="397" y="276"/>
                    </a:lnTo>
                    <a:lnTo>
                      <a:pt x="396" y="277"/>
                    </a:lnTo>
                    <a:lnTo>
                      <a:pt x="395" y="277"/>
                    </a:lnTo>
                    <a:lnTo>
                      <a:pt x="394" y="277"/>
                    </a:lnTo>
                    <a:lnTo>
                      <a:pt x="393" y="278"/>
                    </a:lnTo>
                    <a:lnTo>
                      <a:pt x="393" y="278"/>
                    </a:lnTo>
                    <a:lnTo>
                      <a:pt x="401" y="294"/>
                    </a:lnTo>
                    <a:lnTo>
                      <a:pt x="401" y="294"/>
                    </a:lnTo>
                    <a:lnTo>
                      <a:pt x="401" y="293"/>
                    </a:lnTo>
                    <a:lnTo>
                      <a:pt x="402" y="293"/>
                    </a:lnTo>
                    <a:lnTo>
                      <a:pt x="403" y="293"/>
                    </a:lnTo>
                    <a:lnTo>
                      <a:pt x="404" y="292"/>
                    </a:lnTo>
                    <a:lnTo>
                      <a:pt x="404" y="292"/>
                    </a:lnTo>
                    <a:lnTo>
                      <a:pt x="405" y="292"/>
                    </a:lnTo>
                    <a:lnTo>
                      <a:pt x="406" y="291"/>
                    </a:lnTo>
                    <a:lnTo>
                      <a:pt x="407" y="291"/>
                    </a:lnTo>
                    <a:lnTo>
                      <a:pt x="407" y="291"/>
                    </a:lnTo>
                    <a:lnTo>
                      <a:pt x="408" y="290"/>
                    </a:lnTo>
                    <a:lnTo>
                      <a:pt x="409" y="290"/>
                    </a:lnTo>
                    <a:lnTo>
                      <a:pt x="410" y="290"/>
                    </a:lnTo>
                    <a:lnTo>
                      <a:pt x="411" y="290"/>
                    </a:lnTo>
                    <a:lnTo>
                      <a:pt x="411" y="289"/>
                    </a:lnTo>
                    <a:lnTo>
                      <a:pt x="412" y="289"/>
                    </a:lnTo>
                    <a:lnTo>
                      <a:pt x="413" y="289"/>
                    </a:lnTo>
                    <a:lnTo>
                      <a:pt x="414" y="288"/>
                    </a:lnTo>
                    <a:lnTo>
                      <a:pt x="414" y="288"/>
                    </a:lnTo>
                    <a:lnTo>
                      <a:pt x="415" y="288"/>
                    </a:lnTo>
                    <a:lnTo>
                      <a:pt x="416" y="288"/>
                    </a:lnTo>
                    <a:lnTo>
                      <a:pt x="411" y="271"/>
                    </a:lnTo>
                    <a:close/>
                    <a:moveTo>
                      <a:pt x="361" y="297"/>
                    </a:moveTo>
                    <a:lnTo>
                      <a:pt x="361" y="297"/>
                    </a:lnTo>
                    <a:lnTo>
                      <a:pt x="361" y="297"/>
                    </a:lnTo>
                    <a:lnTo>
                      <a:pt x="360" y="298"/>
                    </a:lnTo>
                    <a:lnTo>
                      <a:pt x="360" y="299"/>
                    </a:lnTo>
                    <a:lnTo>
                      <a:pt x="359" y="299"/>
                    </a:lnTo>
                    <a:lnTo>
                      <a:pt x="358" y="300"/>
                    </a:lnTo>
                    <a:lnTo>
                      <a:pt x="358" y="300"/>
                    </a:lnTo>
                    <a:lnTo>
                      <a:pt x="357" y="301"/>
                    </a:lnTo>
                    <a:lnTo>
                      <a:pt x="356" y="302"/>
                    </a:lnTo>
                    <a:lnTo>
                      <a:pt x="356" y="302"/>
                    </a:lnTo>
                    <a:lnTo>
                      <a:pt x="355" y="303"/>
                    </a:lnTo>
                    <a:lnTo>
                      <a:pt x="354" y="304"/>
                    </a:lnTo>
                    <a:lnTo>
                      <a:pt x="354" y="304"/>
                    </a:lnTo>
                    <a:lnTo>
                      <a:pt x="353" y="305"/>
                    </a:lnTo>
                    <a:lnTo>
                      <a:pt x="352" y="305"/>
                    </a:lnTo>
                    <a:lnTo>
                      <a:pt x="352" y="306"/>
                    </a:lnTo>
                    <a:lnTo>
                      <a:pt x="351" y="307"/>
                    </a:lnTo>
                    <a:lnTo>
                      <a:pt x="350" y="307"/>
                    </a:lnTo>
                    <a:lnTo>
                      <a:pt x="350" y="308"/>
                    </a:lnTo>
                    <a:lnTo>
                      <a:pt x="349" y="309"/>
                    </a:lnTo>
                    <a:lnTo>
                      <a:pt x="348" y="309"/>
                    </a:lnTo>
                    <a:lnTo>
                      <a:pt x="348" y="310"/>
                    </a:lnTo>
                    <a:lnTo>
                      <a:pt x="360" y="322"/>
                    </a:lnTo>
                    <a:lnTo>
                      <a:pt x="361" y="322"/>
                    </a:lnTo>
                    <a:lnTo>
                      <a:pt x="361" y="321"/>
                    </a:lnTo>
                    <a:lnTo>
                      <a:pt x="362" y="320"/>
                    </a:lnTo>
                    <a:lnTo>
                      <a:pt x="363" y="320"/>
                    </a:lnTo>
                    <a:lnTo>
                      <a:pt x="363" y="319"/>
                    </a:lnTo>
                    <a:lnTo>
                      <a:pt x="364" y="319"/>
                    </a:lnTo>
                    <a:lnTo>
                      <a:pt x="364" y="318"/>
                    </a:lnTo>
                    <a:lnTo>
                      <a:pt x="365" y="318"/>
                    </a:lnTo>
                    <a:lnTo>
                      <a:pt x="365" y="317"/>
                    </a:lnTo>
                    <a:lnTo>
                      <a:pt x="366" y="317"/>
                    </a:lnTo>
                    <a:lnTo>
                      <a:pt x="367" y="316"/>
                    </a:lnTo>
                    <a:lnTo>
                      <a:pt x="367" y="315"/>
                    </a:lnTo>
                    <a:lnTo>
                      <a:pt x="368" y="315"/>
                    </a:lnTo>
                    <a:lnTo>
                      <a:pt x="368" y="314"/>
                    </a:lnTo>
                    <a:lnTo>
                      <a:pt x="369" y="314"/>
                    </a:lnTo>
                    <a:lnTo>
                      <a:pt x="370" y="313"/>
                    </a:lnTo>
                    <a:lnTo>
                      <a:pt x="370" y="313"/>
                    </a:lnTo>
                    <a:lnTo>
                      <a:pt x="371" y="312"/>
                    </a:lnTo>
                    <a:lnTo>
                      <a:pt x="372" y="312"/>
                    </a:lnTo>
                    <a:lnTo>
                      <a:pt x="372" y="311"/>
                    </a:lnTo>
                    <a:lnTo>
                      <a:pt x="373" y="311"/>
                    </a:lnTo>
                    <a:lnTo>
                      <a:pt x="361" y="297"/>
                    </a:lnTo>
                    <a:close/>
                    <a:moveTo>
                      <a:pt x="325" y="339"/>
                    </a:moveTo>
                    <a:lnTo>
                      <a:pt x="325" y="339"/>
                    </a:lnTo>
                    <a:lnTo>
                      <a:pt x="325" y="340"/>
                    </a:lnTo>
                    <a:lnTo>
                      <a:pt x="324" y="341"/>
                    </a:lnTo>
                    <a:lnTo>
                      <a:pt x="324" y="341"/>
                    </a:lnTo>
                    <a:lnTo>
                      <a:pt x="323" y="342"/>
                    </a:lnTo>
                    <a:lnTo>
                      <a:pt x="323" y="343"/>
                    </a:lnTo>
                    <a:lnTo>
                      <a:pt x="323" y="344"/>
                    </a:lnTo>
                    <a:lnTo>
                      <a:pt x="322" y="345"/>
                    </a:lnTo>
                    <a:lnTo>
                      <a:pt x="322" y="345"/>
                    </a:lnTo>
                    <a:lnTo>
                      <a:pt x="321" y="346"/>
                    </a:lnTo>
                    <a:lnTo>
                      <a:pt x="321" y="347"/>
                    </a:lnTo>
                    <a:lnTo>
                      <a:pt x="320" y="348"/>
                    </a:lnTo>
                    <a:lnTo>
                      <a:pt x="320" y="349"/>
                    </a:lnTo>
                    <a:lnTo>
                      <a:pt x="320" y="350"/>
                    </a:lnTo>
                    <a:lnTo>
                      <a:pt x="319" y="350"/>
                    </a:lnTo>
                    <a:lnTo>
                      <a:pt x="319" y="351"/>
                    </a:lnTo>
                    <a:lnTo>
                      <a:pt x="318" y="352"/>
                    </a:lnTo>
                    <a:lnTo>
                      <a:pt x="318" y="353"/>
                    </a:lnTo>
                    <a:lnTo>
                      <a:pt x="318" y="354"/>
                    </a:lnTo>
                    <a:lnTo>
                      <a:pt x="317" y="355"/>
                    </a:lnTo>
                    <a:lnTo>
                      <a:pt x="317" y="356"/>
                    </a:lnTo>
                    <a:lnTo>
                      <a:pt x="317" y="356"/>
                    </a:lnTo>
                    <a:lnTo>
                      <a:pt x="333" y="363"/>
                    </a:lnTo>
                    <a:lnTo>
                      <a:pt x="333" y="363"/>
                    </a:lnTo>
                    <a:lnTo>
                      <a:pt x="333" y="362"/>
                    </a:lnTo>
                    <a:lnTo>
                      <a:pt x="334" y="361"/>
                    </a:lnTo>
                    <a:lnTo>
                      <a:pt x="334" y="360"/>
                    </a:lnTo>
                    <a:lnTo>
                      <a:pt x="334" y="360"/>
                    </a:lnTo>
                    <a:lnTo>
                      <a:pt x="335" y="359"/>
                    </a:lnTo>
                    <a:lnTo>
                      <a:pt x="335" y="358"/>
                    </a:lnTo>
                    <a:lnTo>
                      <a:pt x="335" y="357"/>
                    </a:lnTo>
                    <a:lnTo>
                      <a:pt x="336" y="357"/>
                    </a:lnTo>
                    <a:lnTo>
                      <a:pt x="336" y="356"/>
                    </a:lnTo>
                    <a:lnTo>
                      <a:pt x="336" y="355"/>
                    </a:lnTo>
                    <a:lnTo>
                      <a:pt x="337" y="354"/>
                    </a:lnTo>
                    <a:lnTo>
                      <a:pt x="337" y="354"/>
                    </a:lnTo>
                    <a:lnTo>
                      <a:pt x="338" y="353"/>
                    </a:lnTo>
                    <a:lnTo>
                      <a:pt x="338" y="352"/>
                    </a:lnTo>
                    <a:lnTo>
                      <a:pt x="338" y="351"/>
                    </a:lnTo>
                    <a:lnTo>
                      <a:pt x="339" y="351"/>
                    </a:lnTo>
                    <a:lnTo>
                      <a:pt x="339" y="350"/>
                    </a:lnTo>
                    <a:lnTo>
                      <a:pt x="340" y="349"/>
                    </a:lnTo>
                    <a:lnTo>
                      <a:pt x="340" y="349"/>
                    </a:lnTo>
                    <a:lnTo>
                      <a:pt x="340" y="348"/>
                    </a:lnTo>
                    <a:lnTo>
                      <a:pt x="325" y="339"/>
                    </a:lnTo>
                    <a:close/>
                    <a:moveTo>
                      <a:pt x="306" y="392"/>
                    </a:moveTo>
                    <a:lnTo>
                      <a:pt x="306" y="392"/>
                    </a:lnTo>
                    <a:lnTo>
                      <a:pt x="306" y="393"/>
                    </a:lnTo>
                    <a:lnTo>
                      <a:pt x="306" y="394"/>
                    </a:lnTo>
                    <a:lnTo>
                      <a:pt x="306" y="394"/>
                    </a:lnTo>
                    <a:lnTo>
                      <a:pt x="306" y="395"/>
                    </a:lnTo>
                    <a:lnTo>
                      <a:pt x="305" y="396"/>
                    </a:lnTo>
                    <a:lnTo>
                      <a:pt x="305" y="397"/>
                    </a:lnTo>
                    <a:lnTo>
                      <a:pt x="305" y="398"/>
                    </a:lnTo>
                    <a:lnTo>
                      <a:pt x="305" y="399"/>
                    </a:lnTo>
                    <a:lnTo>
                      <a:pt x="305" y="400"/>
                    </a:lnTo>
                    <a:lnTo>
                      <a:pt x="305" y="401"/>
                    </a:lnTo>
                    <a:lnTo>
                      <a:pt x="305" y="402"/>
                    </a:lnTo>
                    <a:lnTo>
                      <a:pt x="305" y="403"/>
                    </a:lnTo>
                    <a:lnTo>
                      <a:pt x="305" y="404"/>
                    </a:lnTo>
                    <a:lnTo>
                      <a:pt x="304" y="405"/>
                    </a:lnTo>
                    <a:lnTo>
                      <a:pt x="304" y="406"/>
                    </a:lnTo>
                    <a:lnTo>
                      <a:pt x="304" y="407"/>
                    </a:lnTo>
                    <a:lnTo>
                      <a:pt x="304" y="408"/>
                    </a:lnTo>
                    <a:lnTo>
                      <a:pt x="304" y="409"/>
                    </a:lnTo>
                    <a:lnTo>
                      <a:pt x="304" y="410"/>
                    </a:lnTo>
                    <a:lnTo>
                      <a:pt x="304" y="410"/>
                    </a:lnTo>
                    <a:lnTo>
                      <a:pt x="322" y="411"/>
                    </a:lnTo>
                    <a:lnTo>
                      <a:pt x="322" y="411"/>
                    </a:lnTo>
                    <a:lnTo>
                      <a:pt x="322" y="410"/>
                    </a:lnTo>
                    <a:lnTo>
                      <a:pt x="322" y="409"/>
                    </a:lnTo>
                    <a:lnTo>
                      <a:pt x="322" y="408"/>
                    </a:lnTo>
                    <a:lnTo>
                      <a:pt x="322" y="407"/>
                    </a:lnTo>
                    <a:lnTo>
                      <a:pt x="322" y="406"/>
                    </a:lnTo>
                    <a:lnTo>
                      <a:pt x="322" y="406"/>
                    </a:lnTo>
                    <a:lnTo>
                      <a:pt x="322" y="405"/>
                    </a:lnTo>
                    <a:lnTo>
                      <a:pt x="322" y="404"/>
                    </a:lnTo>
                    <a:lnTo>
                      <a:pt x="322" y="403"/>
                    </a:lnTo>
                    <a:lnTo>
                      <a:pt x="322" y="402"/>
                    </a:lnTo>
                    <a:lnTo>
                      <a:pt x="323" y="401"/>
                    </a:lnTo>
                    <a:lnTo>
                      <a:pt x="323" y="400"/>
                    </a:lnTo>
                    <a:lnTo>
                      <a:pt x="323" y="400"/>
                    </a:lnTo>
                    <a:lnTo>
                      <a:pt x="323" y="399"/>
                    </a:lnTo>
                    <a:lnTo>
                      <a:pt x="323" y="398"/>
                    </a:lnTo>
                    <a:lnTo>
                      <a:pt x="323" y="397"/>
                    </a:lnTo>
                    <a:lnTo>
                      <a:pt x="323" y="396"/>
                    </a:lnTo>
                    <a:lnTo>
                      <a:pt x="323" y="395"/>
                    </a:lnTo>
                    <a:lnTo>
                      <a:pt x="323" y="395"/>
                    </a:lnTo>
                    <a:lnTo>
                      <a:pt x="306" y="392"/>
                    </a:lnTo>
                    <a:close/>
                    <a:moveTo>
                      <a:pt x="307" y="447"/>
                    </a:moveTo>
                    <a:lnTo>
                      <a:pt x="307" y="447"/>
                    </a:lnTo>
                    <a:lnTo>
                      <a:pt x="307" y="448"/>
                    </a:lnTo>
                    <a:lnTo>
                      <a:pt x="307" y="449"/>
                    </a:lnTo>
                    <a:lnTo>
                      <a:pt x="308" y="450"/>
                    </a:lnTo>
                    <a:lnTo>
                      <a:pt x="308" y="450"/>
                    </a:lnTo>
                    <a:lnTo>
                      <a:pt x="308" y="451"/>
                    </a:lnTo>
                    <a:lnTo>
                      <a:pt x="308" y="452"/>
                    </a:lnTo>
                    <a:lnTo>
                      <a:pt x="308" y="453"/>
                    </a:lnTo>
                    <a:lnTo>
                      <a:pt x="309" y="454"/>
                    </a:lnTo>
                    <a:lnTo>
                      <a:pt x="309" y="455"/>
                    </a:lnTo>
                    <a:lnTo>
                      <a:pt x="309" y="456"/>
                    </a:lnTo>
                    <a:lnTo>
                      <a:pt x="309" y="457"/>
                    </a:lnTo>
                    <a:lnTo>
                      <a:pt x="310" y="458"/>
                    </a:lnTo>
                    <a:lnTo>
                      <a:pt x="310" y="459"/>
                    </a:lnTo>
                    <a:lnTo>
                      <a:pt x="310" y="460"/>
                    </a:lnTo>
                    <a:lnTo>
                      <a:pt x="310" y="461"/>
                    </a:lnTo>
                    <a:lnTo>
                      <a:pt x="311" y="461"/>
                    </a:lnTo>
                    <a:lnTo>
                      <a:pt x="311" y="462"/>
                    </a:lnTo>
                    <a:lnTo>
                      <a:pt x="311" y="463"/>
                    </a:lnTo>
                    <a:lnTo>
                      <a:pt x="312" y="464"/>
                    </a:lnTo>
                    <a:lnTo>
                      <a:pt x="312" y="465"/>
                    </a:lnTo>
                    <a:lnTo>
                      <a:pt x="312" y="465"/>
                    </a:lnTo>
                    <a:lnTo>
                      <a:pt x="329" y="460"/>
                    </a:lnTo>
                    <a:lnTo>
                      <a:pt x="328" y="459"/>
                    </a:lnTo>
                    <a:lnTo>
                      <a:pt x="328" y="459"/>
                    </a:lnTo>
                    <a:lnTo>
                      <a:pt x="328" y="458"/>
                    </a:lnTo>
                    <a:lnTo>
                      <a:pt x="328" y="457"/>
                    </a:lnTo>
                    <a:lnTo>
                      <a:pt x="328" y="456"/>
                    </a:lnTo>
                    <a:lnTo>
                      <a:pt x="327" y="456"/>
                    </a:lnTo>
                    <a:lnTo>
                      <a:pt x="327" y="455"/>
                    </a:lnTo>
                    <a:lnTo>
                      <a:pt x="327" y="454"/>
                    </a:lnTo>
                    <a:lnTo>
                      <a:pt x="327" y="453"/>
                    </a:lnTo>
                    <a:lnTo>
                      <a:pt x="326" y="452"/>
                    </a:lnTo>
                    <a:lnTo>
                      <a:pt x="326" y="452"/>
                    </a:lnTo>
                    <a:lnTo>
                      <a:pt x="326" y="451"/>
                    </a:lnTo>
                    <a:lnTo>
                      <a:pt x="326" y="450"/>
                    </a:lnTo>
                    <a:lnTo>
                      <a:pt x="325" y="449"/>
                    </a:lnTo>
                    <a:lnTo>
                      <a:pt x="325" y="448"/>
                    </a:lnTo>
                    <a:lnTo>
                      <a:pt x="325" y="447"/>
                    </a:lnTo>
                    <a:lnTo>
                      <a:pt x="325" y="447"/>
                    </a:lnTo>
                    <a:lnTo>
                      <a:pt x="325" y="446"/>
                    </a:lnTo>
                    <a:lnTo>
                      <a:pt x="325" y="445"/>
                    </a:lnTo>
                    <a:lnTo>
                      <a:pt x="324" y="444"/>
                    </a:lnTo>
                    <a:lnTo>
                      <a:pt x="324" y="444"/>
                    </a:lnTo>
                    <a:lnTo>
                      <a:pt x="307" y="447"/>
                    </a:lnTo>
                    <a:close/>
                    <a:moveTo>
                      <a:pt x="328" y="499"/>
                    </a:moveTo>
                    <a:lnTo>
                      <a:pt x="328" y="499"/>
                    </a:lnTo>
                    <a:lnTo>
                      <a:pt x="328" y="499"/>
                    </a:lnTo>
                    <a:lnTo>
                      <a:pt x="329" y="500"/>
                    </a:lnTo>
                    <a:lnTo>
                      <a:pt x="329" y="501"/>
                    </a:lnTo>
                    <a:lnTo>
                      <a:pt x="330" y="502"/>
                    </a:lnTo>
                    <a:lnTo>
                      <a:pt x="330" y="502"/>
                    </a:lnTo>
                    <a:lnTo>
                      <a:pt x="331" y="503"/>
                    </a:lnTo>
                    <a:lnTo>
                      <a:pt x="331" y="504"/>
                    </a:lnTo>
                    <a:lnTo>
                      <a:pt x="332" y="505"/>
                    </a:lnTo>
                    <a:lnTo>
                      <a:pt x="332" y="505"/>
                    </a:lnTo>
                    <a:lnTo>
                      <a:pt x="333" y="506"/>
                    </a:lnTo>
                    <a:lnTo>
                      <a:pt x="333" y="507"/>
                    </a:lnTo>
                    <a:lnTo>
                      <a:pt x="334" y="508"/>
                    </a:lnTo>
                    <a:lnTo>
                      <a:pt x="334" y="508"/>
                    </a:lnTo>
                    <a:lnTo>
                      <a:pt x="335" y="509"/>
                    </a:lnTo>
                    <a:lnTo>
                      <a:pt x="336" y="510"/>
                    </a:lnTo>
                    <a:lnTo>
                      <a:pt x="336" y="511"/>
                    </a:lnTo>
                    <a:lnTo>
                      <a:pt x="337" y="511"/>
                    </a:lnTo>
                    <a:lnTo>
                      <a:pt x="337" y="512"/>
                    </a:lnTo>
                    <a:lnTo>
                      <a:pt x="338" y="513"/>
                    </a:lnTo>
                    <a:lnTo>
                      <a:pt x="338" y="514"/>
                    </a:lnTo>
                    <a:lnTo>
                      <a:pt x="339" y="514"/>
                    </a:lnTo>
                    <a:lnTo>
                      <a:pt x="353" y="503"/>
                    </a:lnTo>
                    <a:lnTo>
                      <a:pt x="352" y="502"/>
                    </a:lnTo>
                    <a:lnTo>
                      <a:pt x="352" y="502"/>
                    </a:lnTo>
                    <a:lnTo>
                      <a:pt x="351" y="501"/>
                    </a:lnTo>
                    <a:lnTo>
                      <a:pt x="351" y="500"/>
                    </a:lnTo>
                    <a:lnTo>
                      <a:pt x="350" y="500"/>
                    </a:lnTo>
                    <a:lnTo>
                      <a:pt x="350" y="499"/>
                    </a:lnTo>
                    <a:lnTo>
                      <a:pt x="349" y="499"/>
                    </a:lnTo>
                    <a:lnTo>
                      <a:pt x="349" y="498"/>
                    </a:lnTo>
                    <a:lnTo>
                      <a:pt x="348" y="497"/>
                    </a:lnTo>
                    <a:lnTo>
                      <a:pt x="348" y="497"/>
                    </a:lnTo>
                    <a:lnTo>
                      <a:pt x="347" y="496"/>
                    </a:lnTo>
                    <a:lnTo>
                      <a:pt x="347" y="495"/>
                    </a:lnTo>
                    <a:lnTo>
                      <a:pt x="346" y="495"/>
                    </a:lnTo>
                    <a:lnTo>
                      <a:pt x="346" y="494"/>
                    </a:lnTo>
                    <a:lnTo>
                      <a:pt x="345" y="493"/>
                    </a:lnTo>
                    <a:lnTo>
                      <a:pt x="345" y="493"/>
                    </a:lnTo>
                    <a:lnTo>
                      <a:pt x="344" y="492"/>
                    </a:lnTo>
                    <a:lnTo>
                      <a:pt x="344" y="491"/>
                    </a:lnTo>
                    <a:lnTo>
                      <a:pt x="343" y="491"/>
                    </a:lnTo>
                    <a:lnTo>
                      <a:pt x="343" y="490"/>
                    </a:lnTo>
                    <a:lnTo>
                      <a:pt x="343" y="490"/>
                    </a:lnTo>
                    <a:lnTo>
                      <a:pt x="328" y="499"/>
                    </a:lnTo>
                    <a:close/>
                    <a:moveTo>
                      <a:pt x="366" y="540"/>
                    </a:moveTo>
                    <a:lnTo>
                      <a:pt x="366" y="540"/>
                    </a:lnTo>
                    <a:lnTo>
                      <a:pt x="366" y="540"/>
                    </a:lnTo>
                    <a:lnTo>
                      <a:pt x="367" y="541"/>
                    </a:lnTo>
                    <a:lnTo>
                      <a:pt x="368" y="541"/>
                    </a:lnTo>
                    <a:lnTo>
                      <a:pt x="369" y="542"/>
                    </a:lnTo>
                    <a:lnTo>
                      <a:pt x="369" y="542"/>
                    </a:lnTo>
                    <a:lnTo>
                      <a:pt x="370" y="543"/>
                    </a:lnTo>
                    <a:lnTo>
                      <a:pt x="371" y="543"/>
                    </a:lnTo>
                    <a:lnTo>
                      <a:pt x="372" y="544"/>
                    </a:lnTo>
                    <a:lnTo>
                      <a:pt x="372" y="544"/>
                    </a:lnTo>
                    <a:lnTo>
                      <a:pt x="373" y="545"/>
                    </a:lnTo>
                    <a:lnTo>
                      <a:pt x="374" y="545"/>
                    </a:lnTo>
                    <a:lnTo>
                      <a:pt x="375" y="546"/>
                    </a:lnTo>
                    <a:lnTo>
                      <a:pt x="375" y="546"/>
                    </a:lnTo>
                    <a:lnTo>
                      <a:pt x="376" y="547"/>
                    </a:lnTo>
                    <a:lnTo>
                      <a:pt x="377" y="547"/>
                    </a:lnTo>
                    <a:lnTo>
                      <a:pt x="378" y="548"/>
                    </a:lnTo>
                    <a:lnTo>
                      <a:pt x="379" y="548"/>
                    </a:lnTo>
                    <a:lnTo>
                      <a:pt x="379" y="549"/>
                    </a:lnTo>
                    <a:lnTo>
                      <a:pt x="380" y="549"/>
                    </a:lnTo>
                    <a:lnTo>
                      <a:pt x="381" y="550"/>
                    </a:lnTo>
                    <a:lnTo>
                      <a:pt x="382" y="550"/>
                    </a:lnTo>
                    <a:lnTo>
                      <a:pt x="390" y="535"/>
                    </a:lnTo>
                    <a:lnTo>
                      <a:pt x="390" y="534"/>
                    </a:lnTo>
                    <a:lnTo>
                      <a:pt x="389" y="534"/>
                    </a:lnTo>
                    <a:lnTo>
                      <a:pt x="388" y="534"/>
                    </a:lnTo>
                    <a:lnTo>
                      <a:pt x="388" y="533"/>
                    </a:lnTo>
                    <a:lnTo>
                      <a:pt x="387" y="533"/>
                    </a:lnTo>
                    <a:lnTo>
                      <a:pt x="386" y="532"/>
                    </a:lnTo>
                    <a:lnTo>
                      <a:pt x="385" y="532"/>
                    </a:lnTo>
                    <a:lnTo>
                      <a:pt x="385" y="531"/>
                    </a:lnTo>
                    <a:lnTo>
                      <a:pt x="384" y="531"/>
                    </a:lnTo>
                    <a:lnTo>
                      <a:pt x="383" y="531"/>
                    </a:lnTo>
                    <a:lnTo>
                      <a:pt x="383" y="530"/>
                    </a:lnTo>
                    <a:lnTo>
                      <a:pt x="382" y="530"/>
                    </a:lnTo>
                    <a:lnTo>
                      <a:pt x="381" y="529"/>
                    </a:lnTo>
                    <a:lnTo>
                      <a:pt x="381" y="529"/>
                    </a:lnTo>
                    <a:lnTo>
                      <a:pt x="380" y="528"/>
                    </a:lnTo>
                    <a:lnTo>
                      <a:pt x="379" y="528"/>
                    </a:lnTo>
                    <a:lnTo>
                      <a:pt x="379" y="527"/>
                    </a:lnTo>
                    <a:lnTo>
                      <a:pt x="378" y="527"/>
                    </a:lnTo>
                    <a:lnTo>
                      <a:pt x="377" y="526"/>
                    </a:lnTo>
                    <a:lnTo>
                      <a:pt x="377" y="526"/>
                    </a:lnTo>
                    <a:lnTo>
                      <a:pt x="376" y="526"/>
                    </a:lnTo>
                    <a:lnTo>
                      <a:pt x="366" y="540"/>
                    </a:lnTo>
                    <a:close/>
                    <a:moveTo>
                      <a:pt x="416" y="564"/>
                    </a:moveTo>
                    <a:lnTo>
                      <a:pt x="416" y="564"/>
                    </a:lnTo>
                    <a:lnTo>
                      <a:pt x="416" y="564"/>
                    </a:lnTo>
                    <a:lnTo>
                      <a:pt x="417" y="565"/>
                    </a:lnTo>
                    <a:lnTo>
                      <a:pt x="418" y="565"/>
                    </a:lnTo>
                    <a:lnTo>
                      <a:pt x="419" y="565"/>
                    </a:lnTo>
                    <a:lnTo>
                      <a:pt x="420" y="565"/>
                    </a:lnTo>
                    <a:lnTo>
                      <a:pt x="421" y="566"/>
                    </a:lnTo>
                    <a:lnTo>
                      <a:pt x="422" y="566"/>
                    </a:lnTo>
                    <a:lnTo>
                      <a:pt x="423" y="566"/>
                    </a:lnTo>
                    <a:lnTo>
                      <a:pt x="424" y="566"/>
                    </a:lnTo>
                    <a:lnTo>
                      <a:pt x="424" y="566"/>
                    </a:lnTo>
                    <a:lnTo>
                      <a:pt x="425" y="567"/>
                    </a:lnTo>
                    <a:lnTo>
                      <a:pt x="426" y="567"/>
                    </a:lnTo>
                    <a:lnTo>
                      <a:pt x="427" y="567"/>
                    </a:lnTo>
                    <a:lnTo>
                      <a:pt x="428" y="567"/>
                    </a:lnTo>
                    <a:lnTo>
                      <a:pt x="429" y="567"/>
                    </a:lnTo>
                    <a:lnTo>
                      <a:pt x="430" y="568"/>
                    </a:lnTo>
                    <a:lnTo>
                      <a:pt x="431" y="568"/>
                    </a:lnTo>
                    <a:lnTo>
                      <a:pt x="432" y="568"/>
                    </a:lnTo>
                    <a:lnTo>
                      <a:pt x="433" y="568"/>
                    </a:lnTo>
                    <a:lnTo>
                      <a:pt x="434" y="568"/>
                    </a:lnTo>
                    <a:lnTo>
                      <a:pt x="434" y="568"/>
                    </a:lnTo>
                    <a:lnTo>
                      <a:pt x="437" y="551"/>
                    </a:lnTo>
                    <a:lnTo>
                      <a:pt x="437" y="551"/>
                    </a:lnTo>
                    <a:lnTo>
                      <a:pt x="436" y="551"/>
                    </a:lnTo>
                    <a:lnTo>
                      <a:pt x="435" y="551"/>
                    </a:lnTo>
                    <a:lnTo>
                      <a:pt x="434" y="550"/>
                    </a:lnTo>
                    <a:lnTo>
                      <a:pt x="433" y="550"/>
                    </a:lnTo>
                    <a:lnTo>
                      <a:pt x="432" y="550"/>
                    </a:lnTo>
                    <a:lnTo>
                      <a:pt x="431" y="550"/>
                    </a:lnTo>
                    <a:lnTo>
                      <a:pt x="431" y="550"/>
                    </a:lnTo>
                    <a:lnTo>
                      <a:pt x="430" y="550"/>
                    </a:lnTo>
                    <a:lnTo>
                      <a:pt x="429" y="549"/>
                    </a:lnTo>
                    <a:lnTo>
                      <a:pt x="428" y="549"/>
                    </a:lnTo>
                    <a:lnTo>
                      <a:pt x="427" y="549"/>
                    </a:lnTo>
                    <a:lnTo>
                      <a:pt x="427" y="549"/>
                    </a:lnTo>
                    <a:lnTo>
                      <a:pt x="426" y="549"/>
                    </a:lnTo>
                    <a:lnTo>
                      <a:pt x="425" y="548"/>
                    </a:lnTo>
                    <a:lnTo>
                      <a:pt x="424" y="548"/>
                    </a:lnTo>
                    <a:lnTo>
                      <a:pt x="423" y="548"/>
                    </a:lnTo>
                    <a:lnTo>
                      <a:pt x="422" y="548"/>
                    </a:lnTo>
                    <a:lnTo>
                      <a:pt x="422" y="548"/>
                    </a:lnTo>
                    <a:lnTo>
                      <a:pt x="421" y="547"/>
                    </a:lnTo>
                    <a:lnTo>
                      <a:pt x="421" y="547"/>
                    </a:lnTo>
                    <a:lnTo>
                      <a:pt x="416" y="564"/>
                    </a:lnTo>
                    <a:close/>
                    <a:moveTo>
                      <a:pt x="471" y="569"/>
                    </a:moveTo>
                    <a:lnTo>
                      <a:pt x="471" y="569"/>
                    </a:lnTo>
                    <a:lnTo>
                      <a:pt x="472" y="569"/>
                    </a:lnTo>
                    <a:lnTo>
                      <a:pt x="473" y="569"/>
                    </a:lnTo>
                    <a:lnTo>
                      <a:pt x="474" y="569"/>
                    </a:lnTo>
                    <a:lnTo>
                      <a:pt x="475" y="569"/>
                    </a:lnTo>
                    <a:lnTo>
                      <a:pt x="476" y="569"/>
                    </a:lnTo>
                    <a:lnTo>
                      <a:pt x="477" y="569"/>
                    </a:lnTo>
                    <a:lnTo>
                      <a:pt x="478" y="569"/>
                    </a:lnTo>
                    <a:lnTo>
                      <a:pt x="479" y="568"/>
                    </a:lnTo>
                    <a:lnTo>
                      <a:pt x="480" y="568"/>
                    </a:lnTo>
                    <a:lnTo>
                      <a:pt x="480" y="568"/>
                    </a:lnTo>
                    <a:lnTo>
                      <a:pt x="481" y="568"/>
                    </a:lnTo>
                    <a:lnTo>
                      <a:pt x="482" y="568"/>
                    </a:lnTo>
                    <a:lnTo>
                      <a:pt x="483" y="568"/>
                    </a:lnTo>
                    <a:lnTo>
                      <a:pt x="484" y="568"/>
                    </a:lnTo>
                    <a:lnTo>
                      <a:pt x="485" y="567"/>
                    </a:lnTo>
                    <a:lnTo>
                      <a:pt x="486" y="567"/>
                    </a:lnTo>
                    <a:lnTo>
                      <a:pt x="487" y="567"/>
                    </a:lnTo>
                    <a:lnTo>
                      <a:pt x="488" y="567"/>
                    </a:lnTo>
                    <a:lnTo>
                      <a:pt x="489" y="567"/>
                    </a:lnTo>
                    <a:lnTo>
                      <a:pt x="490" y="566"/>
                    </a:lnTo>
                    <a:lnTo>
                      <a:pt x="490" y="566"/>
                    </a:lnTo>
                    <a:lnTo>
                      <a:pt x="486" y="549"/>
                    </a:lnTo>
                    <a:lnTo>
                      <a:pt x="486" y="549"/>
                    </a:lnTo>
                    <a:lnTo>
                      <a:pt x="485" y="549"/>
                    </a:lnTo>
                    <a:lnTo>
                      <a:pt x="485" y="550"/>
                    </a:lnTo>
                    <a:lnTo>
                      <a:pt x="484" y="550"/>
                    </a:lnTo>
                    <a:lnTo>
                      <a:pt x="483" y="550"/>
                    </a:lnTo>
                    <a:lnTo>
                      <a:pt x="482" y="550"/>
                    </a:lnTo>
                    <a:lnTo>
                      <a:pt x="481" y="550"/>
                    </a:lnTo>
                    <a:lnTo>
                      <a:pt x="480" y="550"/>
                    </a:lnTo>
                    <a:lnTo>
                      <a:pt x="479" y="551"/>
                    </a:lnTo>
                    <a:lnTo>
                      <a:pt x="479" y="551"/>
                    </a:lnTo>
                    <a:lnTo>
                      <a:pt x="478" y="551"/>
                    </a:lnTo>
                    <a:lnTo>
                      <a:pt x="477" y="551"/>
                    </a:lnTo>
                    <a:lnTo>
                      <a:pt x="476" y="551"/>
                    </a:lnTo>
                    <a:lnTo>
                      <a:pt x="475" y="551"/>
                    </a:lnTo>
                    <a:lnTo>
                      <a:pt x="474" y="551"/>
                    </a:lnTo>
                    <a:lnTo>
                      <a:pt x="474" y="551"/>
                    </a:lnTo>
                    <a:lnTo>
                      <a:pt x="473" y="551"/>
                    </a:lnTo>
                    <a:lnTo>
                      <a:pt x="472" y="552"/>
                    </a:lnTo>
                    <a:lnTo>
                      <a:pt x="471" y="552"/>
                    </a:lnTo>
                    <a:lnTo>
                      <a:pt x="470" y="552"/>
                    </a:lnTo>
                    <a:lnTo>
                      <a:pt x="470" y="552"/>
                    </a:lnTo>
                    <a:lnTo>
                      <a:pt x="471" y="569"/>
                    </a:lnTo>
                    <a:close/>
                    <a:moveTo>
                      <a:pt x="525" y="554"/>
                    </a:moveTo>
                    <a:lnTo>
                      <a:pt x="525" y="554"/>
                    </a:lnTo>
                    <a:lnTo>
                      <a:pt x="525" y="554"/>
                    </a:lnTo>
                    <a:lnTo>
                      <a:pt x="526" y="554"/>
                    </a:lnTo>
                    <a:lnTo>
                      <a:pt x="527" y="553"/>
                    </a:lnTo>
                    <a:lnTo>
                      <a:pt x="528" y="553"/>
                    </a:lnTo>
                    <a:lnTo>
                      <a:pt x="529" y="552"/>
                    </a:lnTo>
                    <a:lnTo>
                      <a:pt x="529" y="552"/>
                    </a:lnTo>
                    <a:lnTo>
                      <a:pt x="530" y="551"/>
                    </a:lnTo>
                    <a:lnTo>
                      <a:pt x="531" y="551"/>
                    </a:lnTo>
                    <a:lnTo>
                      <a:pt x="532" y="551"/>
                    </a:lnTo>
                    <a:lnTo>
                      <a:pt x="533" y="550"/>
                    </a:lnTo>
                    <a:lnTo>
                      <a:pt x="533" y="550"/>
                    </a:lnTo>
                    <a:lnTo>
                      <a:pt x="534" y="549"/>
                    </a:lnTo>
                    <a:lnTo>
                      <a:pt x="535" y="549"/>
                    </a:lnTo>
                    <a:lnTo>
                      <a:pt x="536" y="548"/>
                    </a:lnTo>
                    <a:lnTo>
                      <a:pt x="537" y="548"/>
                    </a:lnTo>
                    <a:lnTo>
                      <a:pt x="537" y="547"/>
                    </a:lnTo>
                    <a:lnTo>
                      <a:pt x="538" y="547"/>
                    </a:lnTo>
                    <a:lnTo>
                      <a:pt x="539" y="546"/>
                    </a:lnTo>
                    <a:lnTo>
                      <a:pt x="540" y="546"/>
                    </a:lnTo>
                    <a:lnTo>
                      <a:pt x="540" y="545"/>
                    </a:lnTo>
                    <a:lnTo>
                      <a:pt x="541" y="545"/>
                    </a:lnTo>
                    <a:lnTo>
                      <a:pt x="532" y="530"/>
                    </a:lnTo>
                    <a:lnTo>
                      <a:pt x="531" y="531"/>
                    </a:lnTo>
                    <a:lnTo>
                      <a:pt x="530" y="531"/>
                    </a:lnTo>
                    <a:lnTo>
                      <a:pt x="530" y="531"/>
                    </a:lnTo>
                    <a:lnTo>
                      <a:pt x="529" y="532"/>
                    </a:lnTo>
                    <a:lnTo>
                      <a:pt x="528" y="532"/>
                    </a:lnTo>
                    <a:lnTo>
                      <a:pt x="527" y="533"/>
                    </a:lnTo>
                    <a:lnTo>
                      <a:pt x="527" y="533"/>
                    </a:lnTo>
                    <a:lnTo>
                      <a:pt x="526" y="534"/>
                    </a:lnTo>
                    <a:lnTo>
                      <a:pt x="525" y="534"/>
                    </a:lnTo>
                    <a:lnTo>
                      <a:pt x="525" y="534"/>
                    </a:lnTo>
                    <a:lnTo>
                      <a:pt x="524" y="535"/>
                    </a:lnTo>
                    <a:lnTo>
                      <a:pt x="523" y="535"/>
                    </a:lnTo>
                    <a:lnTo>
                      <a:pt x="522" y="536"/>
                    </a:lnTo>
                    <a:lnTo>
                      <a:pt x="522" y="536"/>
                    </a:lnTo>
                    <a:lnTo>
                      <a:pt x="521" y="536"/>
                    </a:lnTo>
                    <a:lnTo>
                      <a:pt x="520" y="537"/>
                    </a:lnTo>
                    <a:lnTo>
                      <a:pt x="520" y="537"/>
                    </a:lnTo>
                    <a:lnTo>
                      <a:pt x="519" y="538"/>
                    </a:lnTo>
                    <a:lnTo>
                      <a:pt x="518" y="538"/>
                    </a:lnTo>
                    <a:lnTo>
                      <a:pt x="517" y="538"/>
                    </a:lnTo>
                    <a:lnTo>
                      <a:pt x="517" y="538"/>
                    </a:lnTo>
                    <a:lnTo>
                      <a:pt x="525" y="554"/>
                    </a:lnTo>
                    <a:close/>
                    <a:moveTo>
                      <a:pt x="570" y="521"/>
                    </a:moveTo>
                    <a:lnTo>
                      <a:pt x="570" y="521"/>
                    </a:lnTo>
                    <a:lnTo>
                      <a:pt x="570" y="520"/>
                    </a:lnTo>
                    <a:lnTo>
                      <a:pt x="570" y="520"/>
                    </a:lnTo>
                    <a:lnTo>
                      <a:pt x="571" y="519"/>
                    </a:lnTo>
                    <a:lnTo>
                      <a:pt x="572" y="518"/>
                    </a:lnTo>
                    <a:lnTo>
                      <a:pt x="572" y="518"/>
                    </a:lnTo>
                    <a:lnTo>
                      <a:pt x="573" y="517"/>
                    </a:lnTo>
                    <a:lnTo>
                      <a:pt x="574" y="516"/>
                    </a:lnTo>
                    <a:lnTo>
                      <a:pt x="574" y="516"/>
                    </a:lnTo>
                    <a:lnTo>
                      <a:pt x="575" y="515"/>
                    </a:lnTo>
                    <a:lnTo>
                      <a:pt x="575" y="514"/>
                    </a:lnTo>
                    <a:lnTo>
                      <a:pt x="576" y="514"/>
                    </a:lnTo>
                    <a:lnTo>
                      <a:pt x="576" y="513"/>
                    </a:lnTo>
                    <a:lnTo>
                      <a:pt x="577" y="512"/>
                    </a:lnTo>
                    <a:lnTo>
                      <a:pt x="578" y="511"/>
                    </a:lnTo>
                    <a:lnTo>
                      <a:pt x="578" y="511"/>
                    </a:lnTo>
                    <a:lnTo>
                      <a:pt x="579" y="510"/>
                    </a:lnTo>
                    <a:lnTo>
                      <a:pt x="579" y="509"/>
                    </a:lnTo>
                    <a:lnTo>
                      <a:pt x="580" y="508"/>
                    </a:lnTo>
                    <a:lnTo>
                      <a:pt x="580" y="508"/>
                    </a:lnTo>
                    <a:lnTo>
                      <a:pt x="581" y="507"/>
                    </a:lnTo>
                    <a:lnTo>
                      <a:pt x="581" y="506"/>
                    </a:lnTo>
                    <a:lnTo>
                      <a:pt x="567" y="496"/>
                    </a:lnTo>
                    <a:lnTo>
                      <a:pt x="567" y="497"/>
                    </a:lnTo>
                    <a:lnTo>
                      <a:pt x="566" y="497"/>
                    </a:lnTo>
                    <a:lnTo>
                      <a:pt x="566" y="498"/>
                    </a:lnTo>
                    <a:lnTo>
                      <a:pt x="565" y="499"/>
                    </a:lnTo>
                    <a:lnTo>
                      <a:pt x="565" y="499"/>
                    </a:lnTo>
                    <a:lnTo>
                      <a:pt x="564" y="500"/>
                    </a:lnTo>
                    <a:lnTo>
                      <a:pt x="564" y="500"/>
                    </a:lnTo>
                    <a:lnTo>
                      <a:pt x="563" y="501"/>
                    </a:lnTo>
                    <a:lnTo>
                      <a:pt x="563" y="502"/>
                    </a:lnTo>
                    <a:lnTo>
                      <a:pt x="562" y="502"/>
                    </a:lnTo>
                    <a:lnTo>
                      <a:pt x="562" y="503"/>
                    </a:lnTo>
                    <a:lnTo>
                      <a:pt x="561" y="504"/>
                    </a:lnTo>
                    <a:lnTo>
                      <a:pt x="561" y="504"/>
                    </a:lnTo>
                    <a:lnTo>
                      <a:pt x="560" y="505"/>
                    </a:lnTo>
                    <a:lnTo>
                      <a:pt x="560" y="505"/>
                    </a:lnTo>
                    <a:lnTo>
                      <a:pt x="559" y="506"/>
                    </a:lnTo>
                    <a:lnTo>
                      <a:pt x="559" y="507"/>
                    </a:lnTo>
                    <a:lnTo>
                      <a:pt x="558" y="507"/>
                    </a:lnTo>
                    <a:lnTo>
                      <a:pt x="557" y="508"/>
                    </a:lnTo>
                    <a:lnTo>
                      <a:pt x="557" y="509"/>
                    </a:lnTo>
                    <a:lnTo>
                      <a:pt x="557" y="509"/>
                    </a:lnTo>
                    <a:lnTo>
                      <a:pt x="570" y="521"/>
                    </a:lnTo>
                    <a:close/>
                    <a:moveTo>
                      <a:pt x="599" y="474"/>
                    </a:moveTo>
                    <a:lnTo>
                      <a:pt x="599" y="474"/>
                    </a:lnTo>
                    <a:lnTo>
                      <a:pt x="600" y="473"/>
                    </a:lnTo>
                    <a:lnTo>
                      <a:pt x="600" y="472"/>
                    </a:lnTo>
                    <a:lnTo>
                      <a:pt x="600" y="471"/>
                    </a:lnTo>
                    <a:lnTo>
                      <a:pt x="601" y="470"/>
                    </a:lnTo>
                    <a:lnTo>
                      <a:pt x="601" y="469"/>
                    </a:lnTo>
                    <a:lnTo>
                      <a:pt x="601" y="469"/>
                    </a:lnTo>
                    <a:lnTo>
                      <a:pt x="602" y="468"/>
                    </a:lnTo>
                    <a:lnTo>
                      <a:pt x="602" y="467"/>
                    </a:lnTo>
                    <a:lnTo>
                      <a:pt x="602" y="466"/>
                    </a:lnTo>
                    <a:lnTo>
                      <a:pt x="603" y="465"/>
                    </a:lnTo>
                    <a:lnTo>
                      <a:pt x="603" y="464"/>
                    </a:lnTo>
                    <a:lnTo>
                      <a:pt x="603" y="463"/>
                    </a:lnTo>
                    <a:lnTo>
                      <a:pt x="603" y="462"/>
                    </a:lnTo>
                    <a:lnTo>
                      <a:pt x="604" y="461"/>
                    </a:lnTo>
                    <a:lnTo>
                      <a:pt x="604" y="461"/>
                    </a:lnTo>
                    <a:lnTo>
                      <a:pt x="604" y="460"/>
                    </a:lnTo>
                    <a:lnTo>
                      <a:pt x="604" y="459"/>
                    </a:lnTo>
                    <a:lnTo>
                      <a:pt x="605" y="458"/>
                    </a:lnTo>
                    <a:lnTo>
                      <a:pt x="605" y="457"/>
                    </a:lnTo>
                    <a:lnTo>
                      <a:pt x="605" y="456"/>
                    </a:lnTo>
                    <a:lnTo>
                      <a:pt x="605" y="456"/>
                    </a:lnTo>
                    <a:lnTo>
                      <a:pt x="588" y="451"/>
                    </a:lnTo>
                    <a:lnTo>
                      <a:pt x="588" y="452"/>
                    </a:lnTo>
                    <a:lnTo>
                      <a:pt x="588" y="452"/>
                    </a:lnTo>
                    <a:lnTo>
                      <a:pt x="588" y="453"/>
                    </a:lnTo>
                    <a:lnTo>
                      <a:pt x="588" y="454"/>
                    </a:lnTo>
                    <a:lnTo>
                      <a:pt x="587" y="455"/>
                    </a:lnTo>
                    <a:lnTo>
                      <a:pt x="587" y="456"/>
                    </a:lnTo>
                    <a:lnTo>
                      <a:pt x="587" y="456"/>
                    </a:lnTo>
                    <a:lnTo>
                      <a:pt x="587" y="457"/>
                    </a:lnTo>
                    <a:lnTo>
                      <a:pt x="586" y="458"/>
                    </a:lnTo>
                    <a:lnTo>
                      <a:pt x="586" y="459"/>
                    </a:lnTo>
                    <a:lnTo>
                      <a:pt x="586" y="459"/>
                    </a:lnTo>
                    <a:lnTo>
                      <a:pt x="586" y="460"/>
                    </a:lnTo>
                    <a:lnTo>
                      <a:pt x="585" y="461"/>
                    </a:lnTo>
                    <a:lnTo>
                      <a:pt x="585" y="462"/>
                    </a:lnTo>
                    <a:lnTo>
                      <a:pt x="585" y="463"/>
                    </a:lnTo>
                    <a:lnTo>
                      <a:pt x="584" y="463"/>
                    </a:lnTo>
                    <a:lnTo>
                      <a:pt x="584" y="464"/>
                    </a:lnTo>
                    <a:lnTo>
                      <a:pt x="584" y="465"/>
                    </a:lnTo>
                    <a:lnTo>
                      <a:pt x="584" y="466"/>
                    </a:lnTo>
                    <a:lnTo>
                      <a:pt x="583" y="467"/>
                    </a:lnTo>
                    <a:lnTo>
                      <a:pt x="583" y="467"/>
                    </a:lnTo>
                    <a:lnTo>
                      <a:pt x="599" y="474"/>
                    </a:lnTo>
                    <a:close/>
                    <a:moveTo>
                      <a:pt x="610" y="419"/>
                    </a:moveTo>
                    <a:lnTo>
                      <a:pt x="610" y="419"/>
                    </a:lnTo>
                    <a:lnTo>
                      <a:pt x="610" y="419"/>
                    </a:lnTo>
                    <a:lnTo>
                      <a:pt x="610" y="418"/>
                    </a:lnTo>
                    <a:lnTo>
                      <a:pt x="610" y="417"/>
                    </a:lnTo>
                    <a:lnTo>
                      <a:pt x="610" y="416"/>
                    </a:lnTo>
                    <a:lnTo>
                      <a:pt x="610" y="415"/>
                    </a:lnTo>
                    <a:lnTo>
                      <a:pt x="610" y="414"/>
                    </a:lnTo>
                    <a:lnTo>
                      <a:pt x="610" y="413"/>
                    </a:lnTo>
                    <a:lnTo>
                      <a:pt x="610" y="412"/>
                    </a:lnTo>
                    <a:lnTo>
                      <a:pt x="610" y="411"/>
                    </a:lnTo>
                    <a:lnTo>
                      <a:pt x="610" y="410"/>
                    </a:lnTo>
                    <a:lnTo>
                      <a:pt x="610" y="409"/>
                    </a:lnTo>
                    <a:lnTo>
                      <a:pt x="610" y="408"/>
                    </a:lnTo>
                    <a:lnTo>
                      <a:pt x="610" y="407"/>
                    </a:lnTo>
                    <a:lnTo>
                      <a:pt x="610" y="406"/>
                    </a:lnTo>
                    <a:lnTo>
                      <a:pt x="610" y="405"/>
                    </a:lnTo>
                    <a:lnTo>
                      <a:pt x="610" y="404"/>
                    </a:lnTo>
                    <a:lnTo>
                      <a:pt x="610" y="403"/>
                    </a:lnTo>
                    <a:lnTo>
                      <a:pt x="610" y="402"/>
                    </a:lnTo>
                    <a:lnTo>
                      <a:pt x="609" y="401"/>
                    </a:lnTo>
                    <a:lnTo>
                      <a:pt x="609" y="400"/>
                    </a:lnTo>
                    <a:lnTo>
                      <a:pt x="592" y="402"/>
                    </a:lnTo>
                    <a:lnTo>
                      <a:pt x="592" y="403"/>
                    </a:lnTo>
                    <a:lnTo>
                      <a:pt x="592" y="404"/>
                    </a:lnTo>
                    <a:lnTo>
                      <a:pt x="592" y="405"/>
                    </a:lnTo>
                    <a:lnTo>
                      <a:pt x="592" y="406"/>
                    </a:lnTo>
                    <a:lnTo>
                      <a:pt x="592" y="406"/>
                    </a:lnTo>
                    <a:lnTo>
                      <a:pt x="592" y="407"/>
                    </a:lnTo>
                    <a:lnTo>
                      <a:pt x="592" y="408"/>
                    </a:lnTo>
                    <a:lnTo>
                      <a:pt x="592" y="409"/>
                    </a:lnTo>
                    <a:lnTo>
                      <a:pt x="592" y="410"/>
                    </a:lnTo>
                    <a:lnTo>
                      <a:pt x="593" y="411"/>
                    </a:lnTo>
                    <a:lnTo>
                      <a:pt x="593" y="412"/>
                    </a:lnTo>
                    <a:lnTo>
                      <a:pt x="593" y="412"/>
                    </a:lnTo>
                    <a:lnTo>
                      <a:pt x="593" y="413"/>
                    </a:lnTo>
                    <a:lnTo>
                      <a:pt x="593" y="414"/>
                    </a:lnTo>
                    <a:lnTo>
                      <a:pt x="593" y="415"/>
                    </a:lnTo>
                    <a:lnTo>
                      <a:pt x="593" y="416"/>
                    </a:lnTo>
                    <a:lnTo>
                      <a:pt x="593" y="417"/>
                    </a:lnTo>
                    <a:lnTo>
                      <a:pt x="593" y="418"/>
                    </a:lnTo>
                    <a:lnTo>
                      <a:pt x="593" y="419"/>
                    </a:lnTo>
                    <a:lnTo>
                      <a:pt x="593" y="419"/>
                    </a:lnTo>
                    <a:lnTo>
                      <a:pt x="610" y="419"/>
                    </a:lnTo>
                    <a:close/>
                    <a:moveTo>
                      <a:pt x="601" y="364"/>
                    </a:moveTo>
                    <a:lnTo>
                      <a:pt x="601" y="364"/>
                    </a:lnTo>
                    <a:lnTo>
                      <a:pt x="601" y="363"/>
                    </a:lnTo>
                    <a:lnTo>
                      <a:pt x="600" y="362"/>
                    </a:lnTo>
                    <a:lnTo>
                      <a:pt x="600" y="362"/>
                    </a:lnTo>
                    <a:lnTo>
                      <a:pt x="600" y="361"/>
                    </a:lnTo>
                    <a:lnTo>
                      <a:pt x="599" y="360"/>
                    </a:lnTo>
                    <a:lnTo>
                      <a:pt x="599" y="359"/>
                    </a:lnTo>
                    <a:lnTo>
                      <a:pt x="599" y="358"/>
                    </a:lnTo>
                    <a:lnTo>
                      <a:pt x="598" y="357"/>
                    </a:lnTo>
                    <a:lnTo>
                      <a:pt x="598" y="356"/>
                    </a:lnTo>
                    <a:lnTo>
                      <a:pt x="598" y="356"/>
                    </a:lnTo>
                    <a:lnTo>
                      <a:pt x="597" y="355"/>
                    </a:lnTo>
                    <a:lnTo>
                      <a:pt x="597" y="354"/>
                    </a:lnTo>
                    <a:lnTo>
                      <a:pt x="596" y="353"/>
                    </a:lnTo>
                    <a:lnTo>
                      <a:pt x="596" y="352"/>
                    </a:lnTo>
                    <a:lnTo>
                      <a:pt x="596" y="351"/>
                    </a:lnTo>
                    <a:lnTo>
                      <a:pt x="595" y="350"/>
                    </a:lnTo>
                    <a:lnTo>
                      <a:pt x="595" y="350"/>
                    </a:lnTo>
                    <a:lnTo>
                      <a:pt x="594" y="349"/>
                    </a:lnTo>
                    <a:lnTo>
                      <a:pt x="594" y="348"/>
                    </a:lnTo>
                    <a:lnTo>
                      <a:pt x="594" y="347"/>
                    </a:lnTo>
                    <a:lnTo>
                      <a:pt x="593" y="347"/>
                    </a:lnTo>
                    <a:lnTo>
                      <a:pt x="578" y="355"/>
                    </a:lnTo>
                    <a:lnTo>
                      <a:pt x="578" y="355"/>
                    </a:lnTo>
                    <a:lnTo>
                      <a:pt x="578" y="356"/>
                    </a:lnTo>
                    <a:lnTo>
                      <a:pt x="579" y="357"/>
                    </a:lnTo>
                    <a:lnTo>
                      <a:pt x="579" y="357"/>
                    </a:lnTo>
                    <a:lnTo>
                      <a:pt x="579" y="358"/>
                    </a:lnTo>
                    <a:lnTo>
                      <a:pt x="580" y="359"/>
                    </a:lnTo>
                    <a:lnTo>
                      <a:pt x="580" y="360"/>
                    </a:lnTo>
                    <a:lnTo>
                      <a:pt x="580" y="360"/>
                    </a:lnTo>
                    <a:lnTo>
                      <a:pt x="581" y="361"/>
                    </a:lnTo>
                    <a:lnTo>
                      <a:pt x="581" y="362"/>
                    </a:lnTo>
                    <a:lnTo>
                      <a:pt x="581" y="363"/>
                    </a:lnTo>
                    <a:lnTo>
                      <a:pt x="582" y="363"/>
                    </a:lnTo>
                    <a:lnTo>
                      <a:pt x="582" y="364"/>
                    </a:lnTo>
                    <a:lnTo>
                      <a:pt x="582" y="365"/>
                    </a:lnTo>
                    <a:lnTo>
                      <a:pt x="583" y="366"/>
                    </a:lnTo>
                    <a:lnTo>
                      <a:pt x="583" y="366"/>
                    </a:lnTo>
                    <a:lnTo>
                      <a:pt x="583" y="367"/>
                    </a:lnTo>
                    <a:lnTo>
                      <a:pt x="584" y="368"/>
                    </a:lnTo>
                    <a:lnTo>
                      <a:pt x="584" y="369"/>
                    </a:lnTo>
                    <a:lnTo>
                      <a:pt x="584" y="369"/>
                    </a:lnTo>
                    <a:lnTo>
                      <a:pt x="584" y="370"/>
                    </a:lnTo>
                    <a:lnTo>
                      <a:pt x="601" y="364"/>
                    </a:lnTo>
                    <a:close/>
                    <a:moveTo>
                      <a:pt x="573" y="316"/>
                    </a:moveTo>
                    <a:lnTo>
                      <a:pt x="573" y="316"/>
                    </a:lnTo>
                    <a:lnTo>
                      <a:pt x="572" y="316"/>
                    </a:lnTo>
                    <a:lnTo>
                      <a:pt x="572" y="315"/>
                    </a:lnTo>
                    <a:lnTo>
                      <a:pt x="571" y="315"/>
                    </a:lnTo>
                    <a:lnTo>
                      <a:pt x="570" y="314"/>
                    </a:lnTo>
                    <a:lnTo>
                      <a:pt x="570" y="313"/>
                    </a:lnTo>
                    <a:lnTo>
                      <a:pt x="569" y="313"/>
                    </a:lnTo>
                    <a:lnTo>
                      <a:pt x="569" y="312"/>
                    </a:lnTo>
                    <a:lnTo>
                      <a:pt x="568" y="311"/>
                    </a:lnTo>
                    <a:lnTo>
                      <a:pt x="567" y="311"/>
                    </a:lnTo>
                    <a:lnTo>
                      <a:pt x="567" y="310"/>
                    </a:lnTo>
                    <a:lnTo>
                      <a:pt x="566" y="309"/>
                    </a:lnTo>
                    <a:lnTo>
                      <a:pt x="565" y="309"/>
                    </a:lnTo>
                    <a:lnTo>
                      <a:pt x="565" y="308"/>
                    </a:lnTo>
                    <a:lnTo>
                      <a:pt x="564" y="307"/>
                    </a:lnTo>
                    <a:lnTo>
                      <a:pt x="563" y="307"/>
                    </a:lnTo>
                    <a:lnTo>
                      <a:pt x="563" y="306"/>
                    </a:lnTo>
                    <a:lnTo>
                      <a:pt x="562" y="305"/>
                    </a:lnTo>
                    <a:lnTo>
                      <a:pt x="561" y="305"/>
                    </a:lnTo>
                    <a:lnTo>
                      <a:pt x="561" y="304"/>
                    </a:lnTo>
                    <a:lnTo>
                      <a:pt x="560" y="304"/>
                    </a:lnTo>
                    <a:lnTo>
                      <a:pt x="559" y="303"/>
                    </a:lnTo>
                    <a:lnTo>
                      <a:pt x="548" y="316"/>
                    </a:lnTo>
                    <a:lnTo>
                      <a:pt x="548" y="317"/>
                    </a:lnTo>
                    <a:lnTo>
                      <a:pt x="549" y="317"/>
                    </a:lnTo>
                    <a:lnTo>
                      <a:pt x="549" y="318"/>
                    </a:lnTo>
                    <a:lnTo>
                      <a:pt x="550" y="318"/>
                    </a:lnTo>
                    <a:lnTo>
                      <a:pt x="551" y="319"/>
                    </a:lnTo>
                    <a:lnTo>
                      <a:pt x="551" y="319"/>
                    </a:lnTo>
                    <a:lnTo>
                      <a:pt x="552" y="320"/>
                    </a:lnTo>
                    <a:lnTo>
                      <a:pt x="552" y="320"/>
                    </a:lnTo>
                    <a:lnTo>
                      <a:pt x="553" y="321"/>
                    </a:lnTo>
                    <a:lnTo>
                      <a:pt x="554" y="322"/>
                    </a:lnTo>
                    <a:lnTo>
                      <a:pt x="554" y="322"/>
                    </a:lnTo>
                    <a:lnTo>
                      <a:pt x="555" y="323"/>
                    </a:lnTo>
                    <a:lnTo>
                      <a:pt x="555" y="323"/>
                    </a:lnTo>
                    <a:lnTo>
                      <a:pt x="556" y="324"/>
                    </a:lnTo>
                    <a:lnTo>
                      <a:pt x="556" y="325"/>
                    </a:lnTo>
                    <a:lnTo>
                      <a:pt x="557" y="325"/>
                    </a:lnTo>
                    <a:lnTo>
                      <a:pt x="557" y="326"/>
                    </a:lnTo>
                    <a:lnTo>
                      <a:pt x="558" y="326"/>
                    </a:lnTo>
                    <a:lnTo>
                      <a:pt x="559" y="327"/>
                    </a:lnTo>
                    <a:lnTo>
                      <a:pt x="559" y="328"/>
                    </a:lnTo>
                    <a:lnTo>
                      <a:pt x="559" y="328"/>
                    </a:lnTo>
                    <a:lnTo>
                      <a:pt x="573" y="316"/>
                    </a:lnTo>
                    <a:close/>
                    <a:moveTo>
                      <a:pt x="529" y="282"/>
                    </a:moveTo>
                    <a:lnTo>
                      <a:pt x="529" y="282"/>
                    </a:lnTo>
                    <a:lnTo>
                      <a:pt x="529" y="281"/>
                    </a:lnTo>
                    <a:lnTo>
                      <a:pt x="528" y="281"/>
                    </a:lnTo>
                    <a:lnTo>
                      <a:pt x="527" y="280"/>
                    </a:lnTo>
                    <a:lnTo>
                      <a:pt x="526" y="280"/>
                    </a:lnTo>
                    <a:lnTo>
                      <a:pt x="525" y="280"/>
                    </a:lnTo>
                    <a:lnTo>
                      <a:pt x="524" y="279"/>
                    </a:lnTo>
                    <a:lnTo>
                      <a:pt x="524" y="279"/>
                    </a:lnTo>
                    <a:lnTo>
                      <a:pt x="523" y="278"/>
                    </a:lnTo>
                    <a:lnTo>
                      <a:pt x="522" y="278"/>
                    </a:lnTo>
                    <a:lnTo>
                      <a:pt x="521" y="278"/>
                    </a:lnTo>
                    <a:lnTo>
                      <a:pt x="520" y="277"/>
                    </a:lnTo>
                    <a:lnTo>
                      <a:pt x="519" y="277"/>
                    </a:lnTo>
                    <a:lnTo>
                      <a:pt x="518" y="277"/>
                    </a:lnTo>
                    <a:lnTo>
                      <a:pt x="518" y="276"/>
                    </a:lnTo>
                    <a:lnTo>
                      <a:pt x="517" y="276"/>
                    </a:lnTo>
                    <a:lnTo>
                      <a:pt x="516" y="275"/>
                    </a:lnTo>
                    <a:lnTo>
                      <a:pt x="515" y="275"/>
                    </a:lnTo>
                    <a:lnTo>
                      <a:pt x="514" y="275"/>
                    </a:lnTo>
                    <a:lnTo>
                      <a:pt x="513" y="274"/>
                    </a:lnTo>
                    <a:lnTo>
                      <a:pt x="512" y="274"/>
                    </a:lnTo>
                    <a:lnTo>
                      <a:pt x="512" y="274"/>
                    </a:lnTo>
                    <a:lnTo>
                      <a:pt x="506" y="290"/>
                    </a:lnTo>
                    <a:lnTo>
                      <a:pt x="506" y="290"/>
                    </a:lnTo>
                    <a:lnTo>
                      <a:pt x="507" y="291"/>
                    </a:lnTo>
                    <a:lnTo>
                      <a:pt x="508" y="291"/>
                    </a:lnTo>
                    <a:lnTo>
                      <a:pt x="508" y="291"/>
                    </a:lnTo>
                    <a:lnTo>
                      <a:pt x="509" y="292"/>
                    </a:lnTo>
                    <a:lnTo>
                      <a:pt x="510" y="292"/>
                    </a:lnTo>
                    <a:lnTo>
                      <a:pt x="511" y="292"/>
                    </a:lnTo>
                    <a:lnTo>
                      <a:pt x="511" y="293"/>
                    </a:lnTo>
                    <a:lnTo>
                      <a:pt x="512" y="293"/>
                    </a:lnTo>
                    <a:lnTo>
                      <a:pt x="513" y="293"/>
                    </a:lnTo>
                    <a:lnTo>
                      <a:pt x="514" y="294"/>
                    </a:lnTo>
                    <a:lnTo>
                      <a:pt x="514" y="294"/>
                    </a:lnTo>
                    <a:lnTo>
                      <a:pt x="515" y="294"/>
                    </a:lnTo>
                    <a:lnTo>
                      <a:pt x="516" y="295"/>
                    </a:lnTo>
                    <a:lnTo>
                      <a:pt x="517" y="295"/>
                    </a:lnTo>
                    <a:lnTo>
                      <a:pt x="517" y="295"/>
                    </a:lnTo>
                    <a:lnTo>
                      <a:pt x="518" y="296"/>
                    </a:lnTo>
                    <a:lnTo>
                      <a:pt x="519" y="296"/>
                    </a:lnTo>
                    <a:lnTo>
                      <a:pt x="520" y="297"/>
                    </a:lnTo>
                    <a:lnTo>
                      <a:pt x="520" y="297"/>
                    </a:lnTo>
                    <a:lnTo>
                      <a:pt x="521" y="297"/>
                    </a:lnTo>
                    <a:lnTo>
                      <a:pt x="529" y="282"/>
                    </a:lnTo>
                    <a:close/>
                    <a:moveTo>
                      <a:pt x="457" y="231"/>
                    </a:moveTo>
                    <a:lnTo>
                      <a:pt x="457" y="231"/>
                    </a:lnTo>
                    <a:cubicBezTo>
                      <a:pt x="354" y="231"/>
                      <a:pt x="271" y="314"/>
                      <a:pt x="271" y="417"/>
                    </a:cubicBezTo>
                    <a:cubicBezTo>
                      <a:pt x="271" y="520"/>
                      <a:pt x="354" y="603"/>
                      <a:pt x="457" y="603"/>
                    </a:cubicBezTo>
                    <a:cubicBezTo>
                      <a:pt x="560" y="603"/>
                      <a:pt x="643" y="520"/>
                      <a:pt x="643" y="417"/>
                    </a:cubicBezTo>
                    <a:cubicBezTo>
                      <a:pt x="643" y="314"/>
                      <a:pt x="560" y="231"/>
                      <a:pt x="457" y="231"/>
                    </a:cubicBezTo>
                    <a:close/>
                    <a:moveTo>
                      <a:pt x="30" y="153"/>
                    </a:moveTo>
                    <a:lnTo>
                      <a:pt x="30" y="153"/>
                    </a:lnTo>
                    <a:cubicBezTo>
                      <a:pt x="66" y="150"/>
                      <a:pt x="102" y="148"/>
                      <a:pt x="138" y="147"/>
                    </a:cubicBezTo>
                    <a:cubicBezTo>
                      <a:pt x="114" y="146"/>
                      <a:pt x="89" y="144"/>
                      <a:pt x="65" y="141"/>
                    </a:cubicBezTo>
                    <a:cubicBezTo>
                      <a:pt x="49" y="139"/>
                      <a:pt x="35" y="128"/>
                      <a:pt x="35" y="111"/>
                    </a:cubicBezTo>
                    <a:cubicBezTo>
                      <a:pt x="35" y="87"/>
                      <a:pt x="35" y="63"/>
                      <a:pt x="35" y="39"/>
                    </a:cubicBezTo>
                    <a:cubicBezTo>
                      <a:pt x="35" y="23"/>
                      <a:pt x="49" y="11"/>
                      <a:pt x="65" y="9"/>
                    </a:cubicBezTo>
                    <a:cubicBezTo>
                      <a:pt x="163" y="0"/>
                      <a:pt x="260" y="0"/>
                      <a:pt x="358" y="9"/>
                    </a:cubicBezTo>
                    <a:cubicBezTo>
                      <a:pt x="374" y="11"/>
                      <a:pt x="388" y="23"/>
                      <a:pt x="388" y="39"/>
                    </a:cubicBezTo>
                    <a:cubicBezTo>
                      <a:pt x="388" y="63"/>
                      <a:pt x="388" y="87"/>
                      <a:pt x="388" y="111"/>
                    </a:cubicBezTo>
                    <a:cubicBezTo>
                      <a:pt x="388" y="128"/>
                      <a:pt x="374" y="139"/>
                      <a:pt x="358" y="141"/>
                    </a:cubicBezTo>
                    <a:cubicBezTo>
                      <a:pt x="323" y="145"/>
                      <a:pt x="287" y="147"/>
                      <a:pt x="252" y="148"/>
                    </a:cubicBezTo>
                    <a:cubicBezTo>
                      <a:pt x="276" y="150"/>
                      <a:pt x="299" y="151"/>
                      <a:pt x="323" y="153"/>
                    </a:cubicBezTo>
                    <a:cubicBezTo>
                      <a:pt x="339" y="155"/>
                      <a:pt x="353" y="167"/>
                      <a:pt x="353" y="183"/>
                    </a:cubicBezTo>
                    <a:lnTo>
                      <a:pt x="353" y="218"/>
                    </a:lnTo>
                    <a:cubicBezTo>
                      <a:pt x="333" y="229"/>
                      <a:pt x="314" y="242"/>
                      <a:pt x="299" y="258"/>
                    </a:cubicBezTo>
                    <a:cubicBezTo>
                      <a:pt x="289" y="268"/>
                      <a:pt x="280" y="278"/>
                      <a:pt x="272" y="290"/>
                    </a:cubicBezTo>
                    <a:cubicBezTo>
                      <a:pt x="191" y="296"/>
                      <a:pt x="111" y="294"/>
                      <a:pt x="30" y="285"/>
                    </a:cubicBezTo>
                    <a:cubicBezTo>
                      <a:pt x="13" y="283"/>
                      <a:pt x="0" y="272"/>
                      <a:pt x="0" y="255"/>
                    </a:cubicBezTo>
                    <a:cubicBezTo>
                      <a:pt x="0" y="231"/>
                      <a:pt x="0" y="207"/>
                      <a:pt x="0" y="183"/>
                    </a:cubicBezTo>
                    <a:cubicBezTo>
                      <a:pt x="0" y="167"/>
                      <a:pt x="13" y="155"/>
                      <a:pt x="30" y="153"/>
                    </a:cubicBezTo>
                    <a:close/>
                  </a:path>
                </a:pathLst>
              </a:custGeom>
              <a:solidFill>
                <a:srgbClr val="FFFFFF"/>
              </a:solidFill>
              <a:ln>
                <a:noFill/>
              </a:ln>
            </p:spPr>
            <p:txBody>
              <a:bodyPr vert="horz" wrap="square" lIns="120140" tIns="60070" rIns="120140" bIns="60070" numCol="1" anchor="t" anchorCtr="0" compatLnSpc="1"/>
              <a:lstStyle/>
              <a:p>
                <a:endParaRPr lang="zh-CN" altLang="en-US" sz="2365">
                  <a:solidFill>
                    <a:schemeClr val="accent2"/>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21" name="组合 20"/>
            <p:cNvGrpSpPr/>
            <p:nvPr/>
          </p:nvGrpSpPr>
          <p:grpSpPr>
            <a:xfrm>
              <a:off x="5768842" y="3255640"/>
              <a:ext cx="1340254" cy="2752888"/>
              <a:chOff x="5768842" y="2946151"/>
              <a:chExt cx="1340254" cy="2752888"/>
            </a:xfrm>
          </p:grpSpPr>
          <p:sp>
            <p:nvSpPr>
              <p:cNvPr id="22" name="任意多边形 59"/>
              <p:cNvSpPr/>
              <p:nvPr/>
            </p:nvSpPr>
            <p:spPr bwMode="auto">
              <a:xfrm>
                <a:off x="5768842" y="2946151"/>
                <a:ext cx="1340254" cy="2752888"/>
              </a:xfrm>
              <a:custGeom>
                <a:avLst/>
                <a:gdLst>
                  <a:gd name="connsiteX0" fmla="*/ 1704975 w 1704975"/>
                  <a:gd name="connsiteY0" fmla="*/ 2768600 h 3502025"/>
                  <a:gd name="connsiteX1" fmla="*/ 854075 w 1704975"/>
                  <a:gd name="connsiteY1" fmla="*/ 3502025 h 3502025"/>
                  <a:gd name="connsiteX2" fmla="*/ 0 w 1704975"/>
                  <a:gd name="connsiteY2" fmla="*/ 2768600 h 3502025"/>
                  <a:gd name="connsiteX3" fmla="*/ 422275 w 1704975"/>
                  <a:gd name="connsiteY3" fmla="*/ 2768600 h 3502025"/>
                  <a:gd name="connsiteX4" fmla="*/ 422276 w 1704975"/>
                  <a:gd name="connsiteY4" fmla="*/ 2768600 h 3502025"/>
                  <a:gd name="connsiteX5" fmla="*/ 422276 w 1704975"/>
                  <a:gd name="connsiteY5" fmla="*/ 0 h 3502025"/>
                  <a:gd name="connsiteX6" fmla="*/ 1282701 w 1704975"/>
                  <a:gd name="connsiteY6" fmla="*/ 684213 h 3502025"/>
                  <a:gd name="connsiteX7" fmla="*/ 1282701 w 1704975"/>
                  <a:gd name="connsiteY7" fmla="*/ 2768600 h 3502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4975" h="3502025">
                    <a:moveTo>
                      <a:pt x="1704975" y="2768600"/>
                    </a:moveTo>
                    <a:lnTo>
                      <a:pt x="854075" y="3502025"/>
                    </a:lnTo>
                    <a:lnTo>
                      <a:pt x="0" y="2768600"/>
                    </a:lnTo>
                    <a:lnTo>
                      <a:pt x="422275" y="2768600"/>
                    </a:lnTo>
                    <a:lnTo>
                      <a:pt x="422276" y="2768600"/>
                    </a:lnTo>
                    <a:lnTo>
                      <a:pt x="422276" y="0"/>
                    </a:lnTo>
                    <a:lnTo>
                      <a:pt x="1282701" y="684213"/>
                    </a:lnTo>
                    <a:lnTo>
                      <a:pt x="1282701" y="2768600"/>
                    </a:lnTo>
                    <a:close/>
                  </a:path>
                </a:pathLst>
              </a:custGeom>
              <a:solidFill>
                <a:schemeClr val="accent1"/>
              </a:solidFill>
              <a:ln>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sp>
            <p:nvSpPr>
              <p:cNvPr id="23" name="矩形 22"/>
              <p:cNvSpPr/>
              <p:nvPr/>
            </p:nvSpPr>
            <p:spPr>
              <a:xfrm>
                <a:off x="6074736" y="4839056"/>
                <a:ext cx="729701" cy="706946"/>
              </a:xfrm>
              <a:prstGeom prst="rect">
                <a:avLst/>
              </a:prstGeom>
            </p:spPr>
            <p:txBody>
              <a:bodyPr wrap="square">
                <a:spAutoFit/>
              </a:bodyPr>
              <a:lstStyle/>
              <a:p>
                <a:pPr algn="ctr"/>
                <a:r>
                  <a:rPr lang="en-US" altLang="zh-CN" sz="3680" b="1" dirty="0">
                    <a:solidFill>
                      <a:srgbClr val="FFFFFF"/>
                    </a:solidFill>
                    <a:latin typeface="Source Han Sans HW SC" panose="020F0502020204030204"/>
                    <a:ea typeface="庞门正道标题体" panose="02010600030101010101" pitchFamily="2" charset="-122"/>
                    <a:sym typeface="Source Han Sans HW SC" panose="020F0502020204030204"/>
                  </a:rPr>
                  <a:t>04</a:t>
                </a:r>
                <a:endParaRPr lang="zh-CN" altLang="en-US" sz="3680" b="1" dirty="0">
                  <a:solidFill>
                    <a:srgbClr val="FFFFFF"/>
                  </a:solidFill>
                  <a:latin typeface="Source Han Sans HW SC" panose="020F0502020204030204"/>
                  <a:ea typeface="庞门正道标题体" panose="02010600030101010101" pitchFamily="2" charset="-122"/>
                  <a:sym typeface="Source Han Sans HW SC" panose="020F0502020204030204"/>
                </a:endParaRPr>
              </a:p>
            </p:txBody>
          </p:sp>
          <p:sp>
            <p:nvSpPr>
              <p:cNvPr id="24" name="Freeform 22"/>
              <p:cNvSpPr>
                <a:spLocks noChangeAspect="1" noEditPoints="1"/>
              </p:cNvSpPr>
              <p:nvPr/>
            </p:nvSpPr>
            <p:spPr bwMode="auto">
              <a:xfrm>
                <a:off x="6282131" y="3510380"/>
                <a:ext cx="318667" cy="374225"/>
              </a:xfrm>
              <a:custGeom>
                <a:avLst/>
                <a:gdLst>
                  <a:gd name="T0" fmla="*/ 90 w 641"/>
                  <a:gd name="T1" fmla="*/ 424 h 748"/>
                  <a:gd name="T2" fmla="*/ 158 w 641"/>
                  <a:gd name="T3" fmla="*/ 424 h 748"/>
                  <a:gd name="T4" fmla="*/ 205 w 641"/>
                  <a:gd name="T5" fmla="*/ 408 h 748"/>
                  <a:gd name="T6" fmla="*/ 291 w 641"/>
                  <a:gd name="T7" fmla="*/ 588 h 748"/>
                  <a:gd name="T8" fmla="*/ 312 w 641"/>
                  <a:gd name="T9" fmla="*/ 475 h 748"/>
                  <a:gd name="T10" fmla="*/ 297 w 641"/>
                  <a:gd name="T11" fmla="*/ 468 h 748"/>
                  <a:gd name="T12" fmla="*/ 298 w 641"/>
                  <a:gd name="T13" fmla="*/ 452 h 748"/>
                  <a:gd name="T14" fmla="*/ 360 w 641"/>
                  <a:gd name="T15" fmla="*/ 452 h 748"/>
                  <a:gd name="T16" fmla="*/ 360 w 641"/>
                  <a:gd name="T17" fmla="*/ 468 h 748"/>
                  <a:gd name="T18" fmla="*/ 346 w 641"/>
                  <a:gd name="T19" fmla="*/ 475 h 748"/>
                  <a:gd name="T20" fmla="*/ 365 w 641"/>
                  <a:gd name="T21" fmla="*/ 583 h 748"/>
                  <a:gd name="T22" fmla="*/ 439 w 641"/>
                  <a:gd name="T23" fmla="*/ 415 h 748"/>
                  <a:gd name="T24" fmla="*/ 482 w 641"/>
                  <a:gd name="T25" fmla="*/ 420 h 748"/>
                  <a:gd name="T26" fmla="*/ 545 w 641"/>
                  <a:gd name="T27" fmla="*/ 420 h 748"/>
                  <a:gd name="T28" fmla="*/ 632 w 641"/>
                  <a:gd name="T29" fmla="*/ 691 h 748"/>
                  <a:gd name="T30" fmla="*/ 544 w 641"/>
                  <a:gd name="T31" fmla="*/ 722 h 748"/>
                  <a:gd name="T32" fmla="*/ 532 w 641"/>
                  <a:gd name="T33" fmla="*/ 681 h 748"/>
                  <a:gd name="T34" fmla="*/ 504 w 641"/>
                  <a:gd name="T35" fmla="*/ 729 h 748"/>
                  <a:gd name="T36" fmla="*/ 123 w 641"/>
                  <a:gd name="T37" fmla="*/ 731 h 748"/>
                  <a:gd name="T38" fmla="*/ 94 w 641"/>
                  <a:gd name="T39" fmla="*/ 681 h 748"/>
                  <a:gd name="T40" fmla="*/ 81 w 641"/>
                  <a:gd name="T41" fmla="*/ 724 h 748"/>
                  <a:gd name="T42" fmla="*/ 0 w 641"/>
                  <a:gd name="T43" fmla="*/ 691 h 748"/>
                  <a:gd name="T44" fmla="*/ 90 w 641"/>
                  <a:gd name="T45" fmla="*/ 424 h 748"/>
                  <a:gd name="T46" fmla="*/ 185 w 641"/>
                  <a:gd name="T47" fmla="*/ 289 h 748"/>
                  <a:gd name="T48" fmla="*/ 185 w 641"/>
                  <a:gd name="T49" fmla="*/ 289 h 748"/>
                  <a:gd name="T50" fmla="*/ 163 w 641"/>
                  <a:gd name="T51" fmla="*/ 264 h 748"/>
                  <a:gd name="T52" fmla="*/ 155 w 641"/>
                  <a:gd name="T53" fmla="*/ 214 h 748"/>
                  <a:gd name="T54" fmla="*/ 155 w 641"/>
                  <a:gd name="T55" fmla="*/ 207 h 748"/>
                  <a:gd name="T56" fmla="*/ 160 w 641"/>
                  <a:gd name="T57" fmla="*/ 204 h 748"/>
                  <a:gd name="T58" fmla="*/ 164 w 641"/>
                  <a:gd name="T59" fmla="*/ 202 h 748"/>
                  <a:gd name="T60" fmla="*/ 199 w 641"/>
                  <a:gd name="T61" fmla="*/ 47 h 748"/>
                  <a:gd name="T62" fmla="*/ 423 w 641"/>
                  <a:gd name="T63" fmla="*/ 43 h 748"/>
                  <a:gd name="T64" fmla="*/ 466 w 641"/>
                  <a:gd name="T65" fmla="*/ 200 h 748"/>
                  <a:gd name="T66" fmla="*/ 472 w 641"/>
                  <a:gd name="T67" fmla="*/ 204 h 748"/>
                  <a:gd name="T68" fmla="*/ 478 w 641"/>
                  <a:gd name="T69" fmla="*/ 207 h 748"/>
                  <a:gd name="T70" fmla="*/ 478 w 641"/>
                  <a:gd name="T71" fmla="*/ 214 h 748"/>
                  <a:gd name="T72" fmla="*/ 471 w 641"/>
                  <a:gd name="T73" fmla="*/ 263 h 748"/>
                  <a:gd name="T74" fmla="*/ 449 w 641"/>
                  <a:gd name="T75" fmla="*/ 288 h 748"/>
                  <a:gd name="T76" fmla="*/ 328 w 641"/>
                  <a:gd name="T77" fmla="*/ 397 h 748"/>
                  <a:gd name="T78" fmla="*/ 299 w 641"/>
                  <a:gd name="T79" fmla="*/ 395 h 748"/>
                  <a:gd name="T80" fmla="*/ 185 w 641"/>
                  <a:gd name="T81" fmla="*/ 28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1" h="748">
                    <a:moveTo>
                      <a:pt x="90" y="424"/>
                    </a:moveTo>
                    <a:cubicBezTo>
                      <a:pt x="114" y="424"/>
                      <a:pt x="137" y="424"/>
                      <a:pt x="158" y="424"/>
                    </a:cubicBezTo>
                    <a:cubicBezTo>
                      <a:pt x="178" y="425"/>
                      <a:pt x="194" y="421"/>
                      <a:pt x="205" y="408"/>
                    </a:cubicBezTo>
                    <a:lnTo>
                      <a:pt x="291" y="588"/>
                    </a:lnTo>
                    <a:lnTo>
                      <a:pt x="312" y="475"/>
                    </a:lnTo>
                    <a:lnTo>
                      <a:pt x="297" y="468"/>
                    </a:lnTo>
                    <a:lnTo>
                      <a:pt x="298" y="452"/>
                    </a:lnTo>
                    <a:lnTo>
                      <a:pt x="360" y="452"/>
                    </a:lnTo>
                    <a:lnTo>
                      <a:pt x="360" y="468"/>
                    </a:lnTo>
                    <a:lnTo>
                      <a:pt x="346" y="475"/>
                    </a:lnTo>
                    <a:lnTo>
                      <a:pt x="365" y="583"/>
                    </a:lnTo>
                    <a:lnTo>
                      <a:pt x="439" y="415"/>
                    </a:lnTo>
                    <a:cubicBezTo>
                      <a:pt x="450" y="420"/>
                      <a:pt x="464" y="422"/>
                      <a:pt x="482" y="420"/>
                    </a:cubicBezTo>
                    <a:cubicBezTo>
                      <a:pt x="502" y="420"/>
                      <a:pt x="523" y="420"/>
                      <a:pt x="545" y="420"/>
                    </a:cubicBezTo>
                    <a:cubicBezTo>
                      <a:pt x="604" y="475"/>
                      <a:pt x="641" y="606"/>
                      <a:pt x="632" y="691"/>
                    </a:cubicBezTo>
                    <a:cubicBezTo>
                      <a:pt x="614" y="704"/>
                      <a:pt x="583" y="714"/>
                      <a:pt x="544" y="722"/>
                    </a:cubicBezTo>
                    <a:lnTo>
                      <a:pt x="532" y="681"/>
                    </a:lnTo>
                    <a:lnTo>
                      <a:pt x="504" y="729"/>
                    </a:lnTo>
                    <a:cubicBezTo>
                      <a:pt x="390" y="746"/>
                      <a:pt x="233" y="748"/>
                      <a:pt x="123" y="731"/>
                    </a:cubicBezTo>
                    <a:lnTo>
                      <a:pt x="94" y="681"/>
                    </a:lnTo>
                    <a:lnTo>
                      <a:pt x="81" y="724"/>
                    </a:lnTo>
                    <a:cubicBezTo>
                      <a:pt x="43" y="716"/>
                      <a:pt x="14" y="705"/>
                      <a:pt x="0" y="691"/>
                    </a:cubicBezTo>
                    <a:cubicBezTo>
                      <a:pt x="1" y="616"/>
                      <a:pt x="15" y="489"/>
                      <a:pt x="90" y="424"/>
                    </a:cubicBezTo>
                    <a:close/>
                    <a:moveTo>
                      <a:pt x="185" y="289"/>
                    </a:moveTo>
                    <a:lnTo>
                      <a:pt x="185" y="289"/>
                    </a:lnTo>
                    <a:cubicBezTo>
                      <a:pt x="175" y="284"/>
                      <a:pt x="168" y="275"/>
                      <a:pt x="163" y="264"/>
                    </a:cubicBezTo>
                    <a:cubicBezTo>
                      <a:pt x="157" y="251"/>
                      <a:pt x="155" y="234"/>
                      <a:pt x="155" y="214"/>
                    </a:cubicBezTo>
                    <a:lnTo>
                      <a:pt x="155" y="207"/>
                    </a:lnTo>
                    <a:lnTo>
                      <a:pt x="160" y="204"/>
                    </a:lnTo>
                    <a:cubicBezTo>
                      <a:pt x="162" y="203"/>
                      <a:pt x="163" y="202"/>
                      <a:pt x="164" y="202"/>
                    </a:cubicBezTo>
                    <a:cubicBezTo>
                      <a:pt x="152" y="117"/>
                      <a:pt x="162" y="78"/>
                      <a:pt x="199" y="47"/>
                    </a:cubicBezTo>
                    <a:cubicBezTo>
                      <a:pt x="256" y="0"/>
                      <a:pt x="365" y="0"/>
                      <a:pt x="423" y="43"/>
                    </a:cubicBezTo>
                    <a:cubicBezTo>
                      <a:pt x="463" y="72"/>
                      <a:pt x="477" y="123"/>
                      <a:pt x="466" y="200"/>
                    </a:cubicBezTo>
                    <a:cubicBezTo>
                      <a:pt x="468" y="201"/>
                      <a:pt x="470" y="202"/>
                      <a:pt x="472" y="204"/>
                    </a:cubicBezTo>
                    <a:lnTo>
                      <a:pt x="478" y="207"/>
                    </a:lnTo>
                    <a:lnTo>
                      <a:pt x="478" y="214"/>
                    </a:lnTo>
                    <a:cubicBezTo>
                      <a:pt x="478" y="233"/>
                      <a:pt x="476" y="250"/>
                      <a:pt x="471" y="263"/>
                    </a:cubicBezTo>
                    <a:cubicBezTo>
                      <a:pt x="466" y="275"/>
                      <a:pt x="459" y="283"/>
                      <a:pt x="449" y="288"/>
                    </a:cubicBezTo>
                    <a:cubicBezTo>
                      <a:pt x="434" y="338"/>
                      <a:pt x="381" y="392"/>
                      <a:pt x="328" y="397"/>
                    </a:cubicBezTo>
                    <a:cubicBezTo>
                      <a:pt x="319" y="398"/>
                      <a:pt x="308" y="398"/>
                      <a:pt x="299" y="395"/>
                    </a:cubicBezTo>
                    <a:cubicBezTo>
                      <a:pt x="241" y="374"/>
                      <a:pt x="203" y="350"/>
                      <a:pt x="185" y="289"/>
                    </a:cubicBezTo>
                    <a:close/>
                  </a:path>
                </a:pathLst>
              </a:custGeom>
              <a:solidFill>
                <a:srgbClr val="FEFEFE"/>
              </a:solidFill>
              <a:ln>
                <a:noFill/>
              </a:ln>
            </p:spPr>
            <p:txBody>
              <a:bodyPr vert="horz" wrap="square" lIns="120140" tIns="60070" rIns="120140" bIns="60070" numCol="1" anchor="t" anchorCtr="0" compatLnSpc="1"/>
              <a:lstStyle/>
              <a:p>
                <a:endParaRPr lang="zh-CN" altLang="en-US" sz="2365">
                  <a:latin typeface="Source Han Sans HW SC" panose="020F0502020204030204"/>
                  <a:ea typeface="庞门正道标题体" panose="02010600030101010101" pitchFamily="2" charset="-122"/>
                  <a:sym typeface="Source Han Sans HW SC" panose="020F0502020204030204"/>
                </a:endParaRPr>
              </a:p>
            </p:txBody>
          </p:sp>
        </p:grpSp>
      </p:grpSp>
      <p:sp>
        <p:nvSpPr>
          <p:cNvPr id="30" name="文本框 29"/>
          <p:cNvSpPr txBox="1"/>
          <p:nvPr/>
        </p:nvSpPr>
        <p:spPr>
          <a:xfrm>
            <a:off x="1357474" y="2102891"/>
            <a:ext cx="2580233" cy="574675"/>
          </a:xfrm>
          <a:prstGeom prst="rect">
            <a:avLst/>
          </a:prstGeom>
          <a:noFill/>
        </p:spPr>
        <p:txBody>
          <a:bodyPr wrap="square" rtlCol="0">
            <a:sp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p>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endParaRPr lang="en-US" altLang="zh-CN" sz="1315" dirty="0">
              <a:latin typeface="Source Han Sans HW SC" panose="020F0502020204030204"/>
              <a:ea typeface="庞门正道标题体" panose="02010600030101010101" pitchFamily="2" charset="-122"/>
              <a:cs typeface="Hiragino Sans GB W3" charset="-122"/>
              <a:sym typeface="Source Han Sans HW SC" panose="020F0502020204030204"/>
            </a:endParaRPr>
          </a:p>
        </p:txBody>
      </p:sp>
      <p:sp>
        <p:nvSpPr>
          <p:cNvPr id="31" name="Rectangle 24"/>
          <p:cNvSpPr>
            <a:spLocks noChangeArrowheads="1"/>
          </p:cNvSpPr>
          <p:nvPr/>
        </p:nvSpPr>
        <p:spPr bwMode="auto">
          <a:xfrm>
            <a:off x="1308735" y="1614170"/>
            <a:ext cx="2314575"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4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32" name="文本框 31"/>
          <p:cNvSpPr txBox="1"/>
          <p:nvPr/>
        </p:nvSpPr>
        <p:spPr>
          <a:xfrm>
            <a:off x="7903514" y="3031804"/>
            <a:ext cx="2580233" cy="574675"/>
          </a:xfrm>
          <a:prstGeom prst="rect">
            <a:avLst/>
          </a:prstGeom>
          <a:noFill/>
        </p:spPr>
        <p:txBody>
          <a:bodyPr wrap="square" rtlCol="0">
            <a:sp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p>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endParaRPr lang="en-US" altLang="zh-CN" sz="1315" dirty="0">
              <a:latin typeface="Source Han Sans HW SC" panose="020F0502020204030204"/>
              <a:ea typeface="庞门正道标题体" panose="02010600030101010101" pitchFamily="2" charset="-122"/>
              <a:cs typeface="Hiragino Sans GB W3" charset="-122"/>
              <a:sym typeface="Source Han Sans HW SC" panose="020F0502020204030204"/>
            </a:endParaRPr>
          </a:p>
        </p:txBody>
      </p:sp>
      <p:sp>
        <p:nvSpPr>
          <p:cNvPr id="33" name="Rectangle 24"/>
          <p:cNvSpPr>
            <a:spLocks noChangeArrowheads="1"/>
          </p:cNvSpPr>
          <p:nvPr/>
        </p:nvSpPr>
        <p:spPr bwMode="auto">
          <a:xfrm>
            <a:off x="7864475" y="2543175"/>
            <a:ext cx="2314575"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4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34" name="文本框 33"/>
          <p:cNvSpPr txBox="1"/>
          <p:nvPr/>
        </p:nvSpPr>
        <p:spPr>
          <a:xfrm>
            <a:off x="1365358" y="4325674"/>
            <a:ext cx="2580233" cy="574675"/>
          </a:xfrm>
          <a:prstGeom prst="rect">
            <a:avLst/>
          </a:prstGeom>
          <a:noFill/>
        </p:spPr>
        <p:txBody>
          <a:bodyPr wrap="square" rtlCol="0">
            <a:sp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p>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endParaRPr lang="en-US" altLang="zh-CN" sz="1315" dirty="0">
              <a:latin typeface="Source Han Sans HW SC" panose="020F0502020204030204"/>
              <a:ea typeface="庞门正道标题体" panose="02010600030101010101" pitchFamily="2" charset="-122"/>
              <a:cs typeface="Hiragino Sans GB W3" charset="-122"/>
              <a:sym typeface="Source Han Sans HW SC" panose="020F0502020204030204"/>
            </a:endParaRPr>
          </a:p>
        </p:txBody>
      </p:sp>
      <p:sp>
        <p:nvSpPr>
          <p:cNvPr id="35" name="Rectangle 24"/>
          <p:cNvSpPr>
            <a:spLocks noChangeArrowheads="1"/>
          </p:cNvSpPr>
          <p:nvPr/>
        </p:nvSpPr>
        <p:spPr bwMode="auto">
          <a:xfrm>
            <a:off x="1316990" y="3837305"/>
            <a:ext cx="2314575"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4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36" name="文本框 35"/>
          <p:cNvSpPr txBox="1"/>
          <p:nvPr/>
        </p:nvSpPr>
        <p:spPr>
          <a:xfrm>
            <a:off x="6803047" y="5303062"/>
            <a:ext cx="2580233" cy="574675"/>
          </a:xfrm>
          <a:prstGeom prst="rect">
            <a:avLst/>
          </a:prstGeom>
          <a:noFill/>
        </p:spPr>
        <p:txBody>
          <a:bodyPr wrap="square" rtlCol="0">
            <a:sp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p>
          <a:p>
            <a:pPr marL="0" marR="0" lvl="0" indent="0" algn="l"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a:t>
            </a:r>
            <a:endParaRPr lang="en-US" altLang="zh-CN" sz="1315" dirty="0">
              <a:latin typeface="Source Han Sans HW SC" panose="020F0502020204030204"/>
              <a:ea typeface="庞门正道标题体" panose="02010600030101010101" pitchFamily="2" charset="-122"/>
              <a:cs typeface="Hiragino Sans GB W3" charset="-122"/>
              <a:sym typeface="Source Han Sans HW SC" panose="020F0502020204030204"/>
            </a:endParaRPr>
          </a:p>
        </p:txBody>
      </p:sp>
      <p:sp>
        <p:nvSpPr>
          <p:cNvPr id="37" name="Rectangle 24"/>
          <p:cNvSpPr>
            <a:spLocks noChangeArrowheads="1"/>
          </p:cNvSpPr>
          <p:nvPr/>
        </p:nvSpPr>
        <p:spPr bwMode="auto">
          <a:xfrm>
            <a:off x="6764020" y="4814570"/>
            <a:ext cx="2314575" cy="442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4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Tree>
  </p:cSld>
  <p:clrMapOvr>
    <a:masterClrMapping/>
  </p:clrMapOvr>
  <mc:AlternateContent xmlns:mc="http://schemas.openxmlformats.org/markup-compatibility/2006" xmlns:p14="http://schemas.microsoft.com/office/powerpoint/2010/main">
    <mc:Choice Requires="p14">
      <p:transition spd="slow" p14:dur="1600" advClick="0" advTm="2000">
        <p:blinds dir="vert"/>
      </p:transition>
    </mc:Choice>
    <mc:Fallback xmlns="">
      <p:transition spd="slow" advClick="0" advTm="2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wipe(down)">
                                      <p:cBhvr>
                                        <p:cTn id="12" dur="500"/>
                                        <p:tgtEl>
                                          <p:spTgt spid="3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wipe(down)">
                                      <p:cBhvr>
                                        <p:cTn id="17" dur="500"/>
                                        <p:tgtEl>
                                          <p:spTgt spid="33"/>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32"/>
                                        </p:tgtEl>
                                        <p:attrNameLst>
                                          <p:attrName>style.visibility</p:attrName>
                                        </p:attrNameLst>
                                      </p:cBhvr>
                                      <p:to>
                                        <p:strVal val="visible"/>
                                      </p:to>
                                    </p:set>
                                    <p:animEffect transition="in" filter="wipe(down)">
                                      <p:cBhvr>
                                        <p:cTn id="22" dur="500"/>
                                        <p:tgtEl>
                                          <p:spTgt spid="32"/>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wipe(down)">
                                      <p:cBhvr>
                                        <p:cTn id="27" dur="500"/>
                                        <p:tgtEl>
                                          <p:spTgt spid="35"/>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wipe(down)">
                                      <p:cBhvr>
                                        <p:cTn id="32" dur="500"/>
                                        <p:tgtEl>
                                          <p:spTgt spid="3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37"/>
                                        </p:tgtEl>
                                        <p:attrNameLst>
                                          <p:attrName>style.visibility</p:attrName>
                                        </p:attrNameLst>
                                      </p:cBhvr>
                                      <p:to>
                                        <p:strVal val="visible"/>
                                      </p:to>
                                    </p:set>
                                    <p:animEffect transition="in" filter="wipe(down)">
                                      <p:cBhvr>
                                        <p:cTn id="37" dur="500"/>
                                        <p:tgtEl>
                                          <p:spTgt spid="37"/>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36"/>
                                        </p:tgtEl>
                                        <p:attrNameLst>
                                          <p:attrName>style.visibility</p:attrName>
                                        </p:attrNameLst>
                                      </p:cBhvr>
                                      <p:to>
                                        <p:strVal val="visible"/>
                                      </p:to>
                                    </p:set>
                                    <p:animEffect transition="in" filter="wipe(down)">
                                      <p:cBhvr>
                                        <p:cTn id="4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35" grpId="0"/>
      <p:bldP spid="36" grpId="0"/>
      <p:bldP spid="37"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3965258" y="2226945"/>
            <a:ext cx="3997960" cy="1420495"/>
          </a:xfrm>
          <a:prstGeom prst="rect">
            <a:avLst/>
          </a:prstGeom>
          <a:noFill/>
        </p:spPr>
        <p:txBody>
          <a:bodyPr wrap="none" rtlCol="0" anchor="t">
            <a:spAutoFit/>
          </a:bodyPr>
          <a:lstStyle/>
          <a:p>
            <a:pPr algn="ctr">
              <a:lnSpc>
                <a:spcPct val="120000"/>
              </a:lnSpc>
              <a:defRPr/>
            </a:pPr>
            <a:r>
              <a:rPr lang="zh-CN" altLang="en-US" sz="7200" b="1" spc="300">
                <a:solidFill>
                  <a:schemeClr val="bg1"/>
                </a:solidFill>
                <a:latin typeface="思源黑体 CN Regular" panose="020B0500000000000000" charset="-122"/>
                <a:ea typeface="思源黑体 CN Regular" panose="020B0500000000000000" charset="-122"/>
                <a:cs typeface="+mn-ea"/>
                <a:sym typeface="Century Gothic" panose="020B0502020202020204" pitchFamily="34" charset="0"/>
              </a:rPr>
              <a:t>谢谢观赏</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4" fill="hold" grpId="0" nodeType="withEffect">
                                  <p:stCondLst>
                                    <p:cond delay="0"/>
                                  </p:stCondLst>
                                  <p:childTnLst>
                                    <p:set>
                                      <p:cBhvr>
                                        <p:cTn id="6" dur="2000" fill="hold">
                                          <p:stCondLst>
                                            <p:cond delay="0"/>
                                          </p:stCondLst>
                                        </p:cTn>
                                        <p:tgtEl>
                                          <p:spTgt spid="7"/>
                                        </p:tgtEl>
                                        <p:attrNameLst>
                                          <p:attrName>style.visibility</p:attrName>
                                        </p:attrNameLst>
                                      </p:cBhvr>
                                      <p:to>
                                        <p:strVal val="visible"/>
                                      </p:to>
                                    </p:set>
                                    <p:anim calcmode="lin" valueType="num">
                                      <p:cBhvr additive="base">
                                        <p:cTn id="7" dur="2000" fill="hold"/>
                                        <p:tgtEl>
                                          <p:spTgt spid="7"/>
                                        </p:tgtEl>
                                        <p:attrNameLst>
                                          <p:attrName>ppt_x</p:attrName>
                                        </p:attrNameLst>
                                      </p:cBhvr>
                                      <p:tavLst>
                                        <p:tav tm="0">
                                          <p:val>
                                            <p:strVal val="#ppt_x"/>
                                          </p:val>
                                        </p:tav>
                                        <p:tav tm="100000">
                                          <p:val>
                                            <p:strVal val="#ppt_x"/>
                                          </p:val>
                                        </p:tav>
                                      </p:tavLst>
                                    </p:anim>
                                    <p:anim calcmode="lin" valueType="num">
                                      <p:cBhvr additive="base">
                                        <p:cTn id="8" dur="20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1430" y="635"/>
            <a:ext cx="12216765" cy="6857365"/>
          </a:xfrm>
          <a:prstGeom prst="rect">
            <a:avLst/>
          </a:prstGeom>
        </p:spPr>
      </p:pic>
      <p:sp>
        <p:nvSpPr>
          <p:cNvPr id="7" name="文本框 6"/>
          <p:cNvSpPr txBox="1"/>
          <p:nvPr/>
        </p:nvSpPr>
        <p:spPr>
          <a:xfrm>
            <a:off x="4415473" y="1464945"/>
            <a:ext cx="2392680" cy="1088390"/>
          </a:xfrm>
          <a:prstGeom prst="rect">
            <a:avLst/>
          </a:prstGeom>
          <a:noFill/>
        </p:spPr>
        <p:txBody>
          <a:bodyPr wrap="none" rtlCol="0" anchor="t">
            <a:spAutoFit/>
          </a:bodyPr>
          <a:lstStyle/>
          <a:p>
            <a:pPr algn="ctr">
              <a:lnSpc>
                <a:spcPct val="120000"/>
              </a:lnSpc>
              <a:defRPr/>
            </a:pPr>
            <a:r>
              <a:rPr lang="zh-CN" sz="5400" spc="300" dirty="0">
                <a:solidFill>
                  <a:schemeClr val="bg1"/>
                </a:solidFill>
                <a:latin typeface="锐字真言体免费商用" panose="02010600030101010101" charset="-122"/>
                <a:ea typeface="锐字真言体免费商用" panose="02010600030101010101" charset="-122"/>
                <a:sym typeface="Source Han Sans HW SC" panose="020F0502020204030204"/>
              </a:rPr>
              <a:t>目  录</a:t>
            </a:r>
          </a:p>
        </p:txBody>
      </p:sp>
      <p:grpSp>
        <p:nvGrpSpPr>
          <p:cNvPr id="12" name="组合 11"/>
          <p:cNvGrpSpPr/>
          <p:nvPr/>
        </p:nvGrpSpPr>
        <p:grpSpPr>
          <a:xfrm>
            <a:off x="2642870" y="2934335"/>
            <a:ext cx="2809240" cy="800100"/>
            <a:chOff x="4417" y="4621"/>
            <a:chExt cx="4424" cy="1260"/>
          </a:xfrm>
        </p:grpSpPr>
        <p:sp>
          <p:nvSpPr>
            <p:cNvPr id="2" name="圆角矩形 1"/>
            <p:cNvSpPr/>
            <p:nvPr/>
          </p:nvSpPr>
          <p:spPr>
            <a:xfrm>
              <a:off x="4417" y="4621"/>
              <a:ext cx="4425" cy="1260"/>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3" name="文本框 12"/>
            <p:cNvSpPr txBox="1"/>
            <p:nvPr/>
          </p:nvSpPr>
          <p:spPr>
            <a:xfrm>
              <a:off x="4623" y="4840"/>
              <a:ext cx="4014" cy="822"/>
            </a:xfrm>
            <a:prstGeom prst="rect">
              <a:avLst/>
            </a:prstGeom>
            <a:noFill/>
          </p:spPr>
          <p:txBody>
            <a:bodyPr wrap="none" rtlCol="0">
              <a:spAutoFit/>
            </a:bodyPr>
            <a:lstStyle/>
            <a:p>
              <a:pPr algn="l"/>
              <a:r>
                <a:rPr lang="zh-CN" altLang="en-US" sz="2800" b="1" spc="300">
                  <a:solidFill>
                    <a:schemeClr val="accent1"/>
                  </a:solidFill>
                  <a:latin typeface="思源黑体 CN Regular" panose="020B0500000000000000" charset="-122"/>
                  <a:ea typeface="思源黑体 CN Regular" panose="020B0500000000000000" charset="-122"/>
                  <a:cs typeface="+mn-ea"/>
                  <a:sym typeface="Century Gothic" panose="020B0502020202020204" pitchFamily="34" charset="0"/>
                </a:rPr>
                <a:t>总体工作概述</a:t>
              </a:r>
            </a:p>
          </p:txBody>
        </p:sp>
      </p:grpSp>
      <p:grpSp>
        <p:nvGrpSpPr>
          <p:cNvPr id="11" name="组合 10"/>
          <p:cNvGrpSpPr/>
          <p:nvPr/>
        </p:nvGrpSpPr>
        <p:grpSpPr>
          <a:xfrm>
            <a:off x="2642870" y="4311650"/>
            <a:ext cx="2809240" cy="800100"/>
            <a:chOff x="4417" y="6301"/>
            <a:chExt cx="4424" cy="1260"/>
          </a:xfrm>
        </p:grpSpPr>
        <p:sp>
          <p:nvSpPr>
            <p:cNvPr id="3" name="圆角矩形 2"/>
            <p:cNvSpPr/>
            <p:nvPr/>
          </p:nvSpPr>
          <p:spPr>
            <a:xfrm>
              <a:off x="4417" y="6301"/>
              <a:ext cx="4425" cy="1260"/>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4" name="文本框 13"/>
            <p:cNvSpPr txBox="1"/>
            <p:nvPr/>
          </p:nvSpPr>
          <p:spPr>
            <a:xfrm>
              <a:off x="4623" y="6520"/>
              <a:ext cx="4014" cy="822"/>
            </a:xfrm>
            <a:prstGeom prst="rect">
              <a:avLst/>
            </a:prstGeom>
            <a:noFill/>
          </p:spPr>
          <p:txBody>
            <a:bodyPr wrap="none" rtlCol="0">
              <a:spAutoFit/>
            </a:bodyPr>
            <a:lstStyle/>
            <a:p>
              <a:pPr algn="l"/>
              <a:r>
                <a:rPr lang="zh-CN" altLang="en-US" sz="2800" b="1" spc="300">
                  <a:solidFill>
                    <a:schemeClr val="accent1"/>
                  </a:solidFill>
                  <a:latin typeface="思源黑体 CN Regular" panose="020B0500000000000000" charset="-122"/>
                  <a:ea typeface="思源黑体 CN Regular" panose="020B0500000000000000" charset="-122"/>
                  <a:cs typeface="+mn-ea"/>
                  <a:sym typeface="Century Gothic" panose="020B0502020202020204" pitchFamily="34" charset="0"/>
                </a:rPr>
                <a:t>成功项目展示</a:t>
              </a:r>
            </a:p>
          </p:txBody>
        </p:sp>
      </p:grpSp>
      <p:grpSp>
        <p:nvGrpSpPr>
          <p:cNvPr id="16" name="组合 15"/>
          <p:cNvGrpSpPr/>
          <p:nvPr/>
        </p:nvGrpSpPr>
        <p:grpSpPr>
          <a:xfrm>
            <a:off x="6005195" y="2934335"/>
            <a:ext cx="2809240" cy="800100"/>
            <a:chOff x="9202" y="4621"/>
            <a:chExt cx="4424" cy="1260"/>
          </a:xfrm>
        </p:grpSpPr>
        <p:sp>
          <p:nvSpPr>
            <p:cNvPr id="4" name="圆角矩形 3"/>
            <p:cNvSpPr/>
            <p:nvPr/>
          </p:nvSpPr>
          <p:spPr>
            <a:xfrm>
              <a:off x="9202" y="4621"/>
              <a:ext cx="4425" cy="1260"/>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5" name="文本框 14"/>
            <p:cNvSpPr txBox="1"/>
            <p:nvPr/>
          </p:nvSpPr>
          <p:spPr>
            <a:xfrm>
              <a:off x="9408" y="4840"/>
              <a:ext cx="4014" cy="822"/>
            </a:xfrm>
            <a:prstGeom prst="rect">
              <a:avLst/>
            </a:prstGeom>
            <a:noFill/>
          </p:spPr>
          <p:txBody>
            <a:bodyPr wrap="none" rtlCol="0">
              <a:spAutoFit/>
            </a:bodyPr>
            <a:lstStyle/>
            <a:p>
              <a:pPr algn="r" defTabSz="1219200"/>
              <a:r>
                <a:rPr lang="zh-CN" altLang="en-US" sz="2800" b="1" spc="300">
                  <a:solidFill>
                    <a:schemeClr val="accent1"/>
                  </a:solidFill>
                  <a:latin typeface="思源黑体 CN Regular" panose="020B0500000000000000" charset="-122"/>
                  <a:ea typeface="思源黑体 CN Regular" panose="020B0500000000000000" charset="-122"/>
                  <a:cs typeface="+mn-ea"/>
                  <a:sym typeface="Century Gothic" panose="020B0502020202020204" pitchFamily="34" charset="0"/>
                </a:rPr>
                <a:t>存在不足之处</a:t>
              </a:r>
            </a:p>
          </p:txBody>
        </p:sp>
      </p:grpSp>
      <p:grpSp>
        <p:nvGrpSpPr>
          <p:cNvPr id="10" name="组合 9"/>
          <p:cNvGrpSpPr/>
          <p:nvPr/>
        </p:nvGrpSpPr>
        <p:grpSpPr>
          <a:xfrm>
            <a:off x="6005195" y="4311650"/>
            <a:ext cx="2809240" cy="800100"/>
            <a:chOff x="9202" y="6301"/>
            <a:chExt cx="4424" cy="1260"/>
          </a:xfrm>
        </p:grpSpPr>
        <p:sp>
          <p:nvSpPr>
            <p:cNvPr id="5" name="圆角矩形 4"/>
            <p:cNvSpPr/>
            <p:nvPr/>
          </p:nvSpPr>
          <p:spPr>
            <a:xfrm>
              <a:off x="9202" y="6301"/>
              <a:ext cx="4425" cy="1260"/>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zh-CN" altLang="en-US"/>
            </a:p>
          </p:txBody>
        </p:sp>
        <p:sp>
          <p:nvSpPr>
            <p:cNvPr id="17" name="文本框 16"/>
            <p:cNvSpPr txBox="1"/>
            <p:nvPr/>
          </p:nvSpPr>
          <p:spPr>
            <a:xfrm>
              <a:off x="9408" y="6520"/>
              <a:ext cx="4014" cy="822"/>
            </a:xfrm>
            <a:prstGeom prst="rect">
              <a:avLst/>
            </a:prstGeom>
            <a:noFill/>
          </p:spPr>
          <p:txBody>
            <a:bodyPr wrap="none" rtlCol="0">
              <a:spAutoFit/>
            </a:bodyPr>
            <a:lstStyle/>
            <a:p>
              <a:pPr algn="l" defTabSz="1219200"/>
              <a:r>
                <a:rPr lang="zh-CN" altLang="en-US" sz="2800" b="1" spc="300">
                  <a:solidFill>
                    <a:schemeClr val="accent1"/>
                  </a:solidFill>
                  <a:latin typeface="思源黑体 CN Regular" panose="020B0500000000000000" charset="-122"/>
                  <a:ea typeface="思源黑体 CN Regular" panose="020B0500000000000000" charset="-122"/>
                  <a:cs typeface="+mn-ea"/>
                  <a:sym typeface="Century Gothic" panose="020B0502020202020204" pitchFamily="34" charset="0"/>
                </a:rPr>
                <a:t>未来发展计划</a:t>
              </a:r>
            </a:p>
          </p:txBody>
        </p:sp>
      </p:grpSp>
      <p:grpSp>
        <p:nvGrpSpPr>
          <p:cNvPr id="24" name="组合 23"/>
          <p:cNvGrpSpPr/>
          <p:nvPr/>
        </p:nvGrpSpPr>
        <p:grpSpPr>
          <a:xfrm>
            <a:off x="2429510" y="2494915"/>
            <a:ext cx="610235" cy="647700"/>
            <a:chOff x="3826" y="3929"/>
            <a:chExt cx="961" cy="1020"/>
          </a:xfrm>
        </p:grpSpPr>
        <p:pic>
          <p:nvPicPr>
            <p:cNvPr id="18" name="图片 17" descr="图层 21"/>
            <p:cNvPicPr>
              <a:picLocks noChangeAspect="1"/>
            </p:cNvPicPr>
            <p:nvPr/>
          </p:nvPicPr>
          <p:blipFill>
            <a:blip r:embed="rId5"/>
            <a:stretch>
              <a:fillRect/>
            </a:stretch>
          </p:blipFill>
          <p:spPr>
            <a:xfrm>
              <a:off x="3826" y="3929"/>
              <a:ext cx="961" cy="1020"/>
            </a:xfrm>
            <a:prstGeom prst="rect">
              <a:avLst/>
            </a:prstGeom>
          </p:spPr>
        </p:pic>
        <p:sp>
          <p:nvSpPr>
            <p:cNvPr id="23" name="文本框 22"/>
            <p:cNvSpPr txBox="1"/>
            <p:nvPr/>
          </p:nvSpPr>
          <p:spPr>
            <a:xfrm>
              <a:off x="4040" y="4101"/>
              <a:ext cx="510" cy="628"/>
            </a:xfrm>
            <a:prstGeom prst="rect">
              <a:avLst/>
            </a:prstGeom>
            <a:noFill/>
          </p:spPr>
          <p:txBody>
            <a:bodyPr wrap="none" rtlCol="0">
              <a:spAutoFit/>
            </a:bodyPr>
            <a:lstStyle/>
            <a:p>
              <a:r>
                <a:rPr lang="en-US" altLang="zh-CN" sz="2000" b="1">
                  <a:solidFill>
                    <a:schemeClr val="accent1"/>
                  </a:solidFill>
                </a:rPr>
                <a:t>1</a:t>
              </a:r>
            </a:p>
          </p:txBody>
        </p:sp>
      </p:grpSp>
      <p:grpSp>
        <p:nvGrpSpPr>
          <p:cNvPr id="26" name="组合 25"/>
          <p:cNvGrpSpPr/>
          <p:nvPr/>
        </p:nvGrpSpPr>
        <p:grpSpPr>
          <a:xfrm>
            <a:off x="5812790" y="2494915"/>
            <a:ext cx="610235" cy="647700"/>
            <a:chOff x="3826" y="3929"/>
            <a:chExt cx="961" cy="1020"/>
          </a:xfrm>
        </p:grpSpPr>
        <p:pic>
          <p:nvPicPr>
            <p:cNvPr id="27" name="图片 26" descr="图层 21"/>
            <p:cNvPicPr>
              <a:picLocks noChangeAspect="1"/>
            </p:cNvPicPr>
            <p:nvPr/>
          </p:nvPicPr>
          <p:blipFill>
            <a:blip r:embed="rId5"/>
            <a:stretch>
              <a:fillRect/>
            </a:stretch>
          </p:blipFill>
          <p:spPr>
            <a:xfrm>
              <a:off x="3826" y="3929"/>
              <a:ext cx="961" cy="1020"/>
            </a:xfrm>
            <a:prstGeom prst="rect">
              <a:avLst/>
            </a:prstGeom>
          </p:spPr>
        </p:pic>
        <p:sp>
          <p:nvSpPr>
            <p:cNvPr id="28" name="文本框 27"/>
            <p:cNvSpPr txBox="1"/>
            <p:nvPr/>
          </p:nvSpPr>
          <p:spPr>
            <a:xfrm>
              <a:off x="4040" y="4101"/>
              <a:ext cx="510" cy="628"/>
            </a:xfrm>
            <a:prstGeom prst="rect">
              <a:avLst/>
            </a:prstGeom>
            <a:noFill/>
          </p:spPr>
          <p:txBody>
            <a:bodyPr wrap="none" rtlCol="0">
              <a:spAutoFit/>
            </a:bodyPr>
            <a:lstStyle/>
            <a:p>
              <a:r>
                <a:rPr lang="en-US" altLang="zh-CN" sz="2000" b="1">
                  <a:solidFill>
                    <a:schemeClr val="accent1"/>
                  </a:solidFill>
                </a:rPr>
                <a:t>2</a:t>
              </a:r>
            </a:p>
          </p:txBody>
        </p:sp>
      </p:grpSp>
      <p:grpSp>
        <p:nvGrpSpPr>
          <p:cNvPr id="29" name="组合 28"/>
          <p:cNvGrpSpPr/>
          <p:nvPr/>
        </p:nvGrpSpPr>
        <p:grpSpPr>
          <a:xfrm>
            <a:off x="2429510" y="3866515"/>
            <a:ext cx="610235" cy="647700"/>
            <a:chOff x="3826" y="3929"/>
            <a:chExt cx="961" cy="1020"/>
          </a:xfrm>
        </p:grpSpPr>
        <p:pic>
          <p:nvPicPr>
            <p:cNvPr id="30" name="图片 29" descr="图层 21"/>
            <p:cNvPicPr>
              <a:picLocks noChangeAspect="1"/>
            </p:cNvPicPr>
            <p:nvPr/>
          </p:nvPicPr>
          <p:blipFill>
            <a:blip r:embed="rId5"/>
            <a:stretch>
              <a:fillRect/>
            </a:stretch>
          </p:blipFill>
          <p:spPr>
            <a:xfrm>
              <a:off x="3826" y="3929"/>
              <a:ext cx="961" cy="1020"/>
            </a:xfrm>
            <a:prstGeom prst="rect">
              <a:avLst/>
            </a:prstGeom>
          </p:spPr>
        </p:pic>
        <p:sp>
          <p:nvSpPr>
            <p:cNvPr id="31" name="文本框 30"/>
            <p:cNvSpPr txBox="1"/>
            <p:nvPr/>
          </p:nvSpPr>
          <p:spPr>
            <a:xfrm>
              <a:off x="4040" y="4101"/>
              <a:ext cx="510" cy="628"/>
            </a:xfrm>
            <a:prstGeom prst="rect">
              <a:avLst/>
            </a:prstGeom>
            <a:noFill/>
          </p:spPr>
          <p:txBody>
            <a:bodyPr wrap="none" rtlCol="0">
              <a:spAutoFit/>
            </a:bodyPr>
            <a:lstStyle/>
            <a:p>
              <a:r>
                <a:rPr lang="en-US" altLang="zh-CN" sz="2000" b="1">
                  <a:solidFill>
                    <a:schemeClr val="accent1"/>
                  </a:solidFill>
                </a:rPr>
                <a:t>3</a:t>
              </a:r>
            </a:p>
          </p:txBody>
        </p:sp>
      </p:grpSp>
      <p:grpSp>
        <p:nvGrpSpPr>
          <p:cNvPr id="32" name="组合 31"/>
          <p:cNvGrpSpPr/>
          <p:nvPr/>
        </p:nvGrpSpPr>
        <p:grpSpPr>
          <a:xfrm>
            <a:off x="5812790" y="3866515"/>
            <a:ext cx="610235" cy="647700"/>
            <a:chOff x="3826" y="3929"/>
            <a:chExt cx="961" cy="1020"/>
          </a:xfrm>
        </p:grpSpPr>
        <p:pic>
          <p:nvPicPr>
            <p:cNvPr id="33" name="图片 32" descr="图层 21"/>
            <p:cNvPicPr>
              <a:picLocks noChangeAspect="1"/>
            </p:cNvPicPr>
            <p:nvPr/>
          </p:nvPicPr>
          <p:blipFill>
            <a:blip r:embed="rId5"/>
            <a:stretch>
              <a:fillRect/>
            </a:stretch>
          </p:blipFill>
          <p:spPr>
            <a:xfrm>
              <a:off x="3826" y="3929"/>
              <a:ext cx="961" cy="1020"/>
            </a:xfrm>
            <a:prstGeom prst="rect">
              <a:avLst/>
            </a:prstGeom>
          </p:spPr>
        </p:pic>
        <p:sp>
          <p:nvSpPr>
            <p:cNvPr id="34" name="文本框 33"/>
            <p:cNvSpPr txBox="1"/>
            <p:nvPr/>
          </p:nvSpPr>
          <p:spPr>
            <a:xfrm>
              <a:off x="4040" y="4101"/>
              <a:ext cx="510" cy="628"/>
            </a:xfrm>
            <a:prstGeom prst="rect">
              <a:avLst/>
            </a:prstGeom>
            <a:noFill/>
          </p:spPr>
          <p:txBody>
            <a:bodyPr wrap="none" rtlCol="0">
              <a:spAutoFit/>
            </a:bodyPr>
            <a:lstStyle/>
            <a:p>
              <a:r>
                <a:rPr lang="en-US" altLang="zh-CN" sz="2000" b="1">
                  <a:solidFill>
                    <a:schemeClr val="accent1"/>
                  </a:solidFill>
                </a:rPr>
                <a:t>4</a:t>
              </a:r>
            </a:p>
          </p:txBody>
        </p:sp>
      </p:gr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21" presetClass="entr" presetSubtype="1" fill="hold" nodeType="afterEffect">
                                  <p:stCondLst>
                                    <p:cond delay="0"/>
                                  </p:stCondLst>
                                  <p:childTnLst>
                                    <p:set>
                                      <p:cBhvr>
                                        <p:cTn id="15" dur="1000" fill="hold">
                                          <p:stCondLst>
                                            <p:cond delay="0"/>
                                          </p:stCondLst>
                                        </p:cTn>
                                        <p:tgtEl>
                                          <p:spTgt spid="12"/>
                                        </p:tgtEl>
                                        <p:attrNameLst>
                                          <p:attrName>style.visibility</p:attrName>
                                        </p:attrNameLst>
                                      </p:cBhvr>
                                      <p:to>
                                        <p:strVal val="visible"/>
                                      </p:to>
                                    </p:set>
                                    <p:animEffect transition="in" filter="wheel(1)">
                                      <p:cBhvr>
                                        <p:cTn id="16" dur="1000"/>
                                        <p:tgtEl>
                                          <p:spTgt spid="12"/>
                                        </p:tgtEl>
                                      </p:cBhvr>
                                    </p:animEffect>
                                  </p:childTnLst>
                                </p:cTn>
                              </p:par>
                            </p:childTnLst>
                          </p:cTn>
                        </p:par>
                        <p:par>
                          <p:cTn id="17" fill="hold">
                            <p:stCondLst>
                              <p:cond delay="2000"/>
                            </p:stCondLst>
                            <p:childTnLst>
                              <p:par>
                                <p:cTn id="18" presetID="2" presetClass="entr" presetSubtype="1" fill="hold" nodeType="after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0-#ppt_h/2"/>
                                          </p:val>
                                        </p:tav>
                                        <p:tav tm="100000">
                                          <p:val>
                                            <p:strVal val="#ppt_y"/>
                                          </p:val>
                                        </p:tav>
                                      </p:tavLst>
                                    </p:anim>
                                  </p:childTnLst>
                                </p:cTn>
                              </p:par>
                            </p:childTnLst>
                          </p:cTn>
                        </p:par>
                        <p:par>
                          <p:cTn id="22" fill="hold">
                            <p:stCondLst>
                              <p:cond delay="2500"/>
                            </p:stCondLst>
                            <p:childTnLst>
                              <p:par>
                                <p:cTn id="23" presetID="21" presetClass="entr" presetSubtype="1" fill="hold" nodeType="afterEffect">
                                  <p:stCondLst>
                                    <p:cond delay="0"/>
                                  </p:stCondLst>
                                  <p:childTnLst>
                                    <p:set>
                                      <p:cBhvr>
                                        <p:cTn id="24" dur="1000" fill="hold">
                                          <p:stCondLst>
                                            <p:cond delay="0"/>
                                          </p:stCondLst>
                                        </p:cTn>
                                        <p:tgtEl>
                                          <p:spTgt spid="16"/>
                                        </p:tgtEl>
                                        <p:attrNameLst>
                                          <p:attrName>style.visibility</p:attrName>
                                        </p:attrNameLst>
                                      </p:cBhvr>
                                      <p:to>
                                        <p:strVal val="visible"/>
                                      </p:to>
                                    </p:set>
                                    <p:animEffect transition="in" filter="wheel(1)">
                                      <p:cBhvr>
                                        <p:cTn id="25" dur="1000"/>
                                        <p:tgtEl>
                                          <p:spTgt spid="16"/>
                                        </p:tgtEl>
                                      </p:cBhvr>
                                    </p:animEffect>
                                  </p:childTnLst>
                                </p:cTn>
                              </p:par>
                            </p:childTnLst>
                          </p:cTn>
                        </p:par>
                        <p:par>
                          <p:cTn id="26" fill="hold">
                            <p:stCondLst>
                              <p:cond delay="3500"/>
                            </p:stCondLst>
                            <p:childTnLst>
                              <p:par>
                                <p:cTn id="27" presetID="2" presetClass="entr" presetSubtype="4" fill="hold" nodeType="afterEffect">
                                  <p:stCondLst>
                                    <p:cond delay="0"/>
                                  </p:stCondLst>
                                  <p:childTnLst>
                                    <p:set>
                                      <p:cBhvr>
                                        <p:cTn id="28" dur="1" fill="hold">
                                          <p:stCondLst>
                                            <p:cond delay="0"/>
                                          </p:stCondLst>
                                        </p:cTn>
                                        <p:tgtEl>
                                          <p:spTgt spid="29"/>
                                        </p:tgtEl>
                                        <p:attrNameLst>
                                          <p:attrName>style.visibility</p:attrName>
                                        </p:attrNameLst>
                                      </p:cBhvr>
                                      <p:to>
                                        <p:strVal val="visible"/>
                                      </p:to>
                                    </p:set>
                                    <p:anim calcmode="lin" valueType="num">
                                      <p:cBhvr additive="base">
                                        <p:cTn id="29" dur="500" fill="hold"/>
                                        <p:tgtEl>
                                          <p:spTgt spid="29"/>
                                        </p:tgtEl>
                                        <p:attrNameLst>
                                          <p:attrName>ppt_x</p:attrName>
                                        </p:attrNameLst>
                                      </p:cBhvr>
                                      <p:tavLst>
                                        <p:tav tm="0">
                                          <p:val>
                                            <p:strVal val="#ppt_x"/>
                                          </p:val>
                                        </p:tav>
                                        <p:tav tm="100000">
                                          <p:val>
                                            <p:strVal val="#ppt_x"/>
                                          </p:val>
                                        </p:tav>
                                      </p:tavLst>
                                    </p:anim>
                                    <p:anim calcmode="lin" valueType="num">
                                      <p:cBhvr additive="base">
                                        <p:cTn id="30" dur="500" fill="hold"/>
                                        <p:tgtEl>
                                          <p:spTgt spid="29"/>
                                        </p:tgtEl>
                                        <p:attrNameLst>
                                          <p:attrName>ppt_y</p:attrName>
                                        </p:attrNameLst>
                                      </p:cBhvr>
                                      <p:tavLst>
                                        <p:tav tm="0">
                                          <p:val>
                                            <p:strVal val="1+#ppt_h/2"/>
                                          </p:val>
                                        </p:tav>
                                        <p:tav tm="100000">
                                          <p:val>
                                            <p:strVal val="#ppt_y"/>
                                          </p:val>
                                        </p:tav>
                                      </p:tavLst>
                                    </p:anim>
                                  </p:childTnLst>
                                </p:cTn>
                              </p:par>
                            </p:childTnLst>
                          </p:cTn>
                        </p:par>
                        <p:par>
                          <p:cTn id="31" fill="hold">
                            <p:stCondLst>
                              <p:cond delay="4000"/>
                            </p:stCondLst>
                            <p:childTnLst>
                              <p:par>
                                <p:cTn id="32" presetID="21" presetClass="entr" presetSubtype="1" fill="hold" nodeType="afterEffect">
                                  <p:stCondLst>
                                    <p:cond delay="0"/>
                                  </p:stCondLst>
                                  <p:childTnLst>
                                    <p:set>
                                      <p:cBhvr>
                                        <p:cTn id="33" dur="1000" fill="hold">
                                          <p:stCondLst>
                                            <p:cond delay="0"/>
                                          </p:stCondLst>
                                        </p:cTn>
                                        <p:tgtEl>
                                          <p:spTgt spid="11"/>
                                        </p:tgtEl>
                                        <p:attrNameLst>
                                          <p:attrName>style.visibility</p:attrName>
                                        </p:attrNameLst>
                                      </p:cBhvr>
                                      <p:to>
                                        <p:strVal val="visible"/>
                                      </p:to>
                                    </p:set>
                                    <p:animEffect transition="in" filter="wheel(1)">
                                      <p:cBhvr>
                                        <p:cTn id="34" dur="1000"/>
                                        <p:tgtEl>
                                          <p:spTgt spid="11"/>
                                        </p:tgtEl>
                                      </p:cBhvr>
                                    </p:animEffect>
                                  </p:childTnLst>
                                </p:cTn>
                              </p:par>
                            </p:childTnLst>
                          </p:cTn>
                        </p:par>
                        <p:par>
                          <p:cTn id="35" fill="hold">
                            <p:stCondLst>
                              <p:cond delay="5000"/>
                            </p:stCondLst>
                            <p:childTnLst>
                              <p:par>
                                <p:cTn id="36" presetID="2" presetClass="entr" presetSubtype="4" fill="hold" nodeType="afterEffect">
                                  <p:stCondLst>
                                    <p:cond delay="0"/>
                                  </p:stCondLst>
                                  <p:childTnLst>
                                    <p:set>
                                      <p:cBhvr>
                                        <p:cTn id="37" dur="1" fill="hold">
                                          <p:stCondLst>
                                            <p:cond delay="0"/>
                                          </p:stCondLst>
                                        </p:cTn>
                                        <p:tgtEl>
                                          <p:spTgt spid="32"/>
                                        </p:tgtEl>
                                        <p:attrNameLst>
                                          <p:attrName>style.visibility</p:attrName>
                                        </p:attrNameLst>
                                      </p:cBhvr>
                                      <p:to>
                                        <p:strVal val="visible"/>
                                      </p:to>
                                    </p:set>
                                    <p:anim calcmode="lin" valueType="num">
                                      <p:cBhvr additive="base">
                                        <p:cTn id="38" dur="500" fill="hold"/>
                                        <p:tgtEl>
                                          <p:spTgt spid="32"/>
                                        </p:tgtEl>
                                        <p:attrNameLst>
                                          <p:attrName>ppt_x</p:attrName>
                                        </p:attrNameLst>
                                      </p:cBhvr>
                                      <p:tavLst>
                                        <p:tav tm="0">
                                          <p:val>
                                            <p:strVal val="#ppt_x"/>
                                          </p:val>
                                        </p:tav>
                                        <p:tav tm="100000">
                                          <p:val>
                                            <p:strVal val="#ppt_x"/>
                                          </p:val>
                                        </p:tav>
                                      </p:tavLst>
                                    </p:anim>
                                    <p:anim calcmode="lin" valueType="num">
                                      <p:cBhvr additive="base">
                                        <p:cTn id="39" dur="500" fill="hold"/>
                                        <p:tgtEl>
                                          <p:spTgt spid="32"/>
                                        </p:tgtEl>
                                        <p:attrNameLst>
                                          <p:attrName>ppt_y</p:attrName>
                                        </p:attrNameLst>
                                      </p:cBhvr>
                                      <p:tavLst>
                                        <p:tav tm="0">
                                          <p:val>
                                            <p:strVal val="1+#ppt_h/2"/>
                                          </p:val>
                                        </p:tav>
                                        <p:tav tm="100000">
                                          <p:val>
                                            <p:strVal val="#ppt_y"/>
                                          </p:val>
                                        </p:tav>
                                      </p:tavLst>
                                    </p:anim>
                                  </p:childTnLst>
                                </p:cTn>
                              </p:par>
                            </p:childTnLst>
                          </p:cTn>
                        </p:par>
                        <p:par>
                          <p:cTn id="40" fill="hold">
                            <p:stCondLst>
                              <p:cond delay="5500"/>
                            </p:stCondLst>
                            <p:childTnLst>
                              <p:par>
                                <p:cTn id="41" presetID="21" presetClass="entr" presetSubtype="1" fill="hold" nodeType="afterEffect">
                                  <p:stCondLst>
                                    <p:cond delay="0"/>
                                  </p:stCondLst>
                                  <p:childTnLst>
                                    <p:set>
                                      <p:cBhvr>
                                        <p:cTn id="42" dur="1000" fill="hold">
                                          <p:stCondLst>
                                            <p:cond delay="0"/>
                                          </p:stCondLst>
                                        </p:cTn>
                                        <p:tgtEl>
                                          <p:spTgt spid="10"/>
                                        </p:tgtEl>
                                        <p:attrNameLst>
                                          <p:attrName>style.visibility</p:attrName>
                                        </p:attrNameLst>
                                      </p:cBhvr>
                                      <p:to>
                                        <p:strVal val="visible"/>
                                      </p:to>
                                    </p:set>
                                    <p:animEffect transition="in" filter="wheel(1)">
                                      <p:cBhvr>
                                        <p:cTn id="43"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3011488" y="2226945"/>
            <a:ext cx="5905500" cy="1420495"/>
          </a:xfrm>
          <a:prstGeom prst="rect">
            <a:avLst/>
          </a:prstGeom>
          <a:noFill/>
        </p:spPr>
        <p:txBody>
          <a:bodyPr wrap="none" rtlCol="0" anchor="t">
            <a:spAutoFit/>
          </a:bodyPr>
          <a:lstStyle/>
          <a:p>
            <a:pPr algn="ctr">
              <a:lnSpc>
                <a:spcPct val="120000"/>
              </a:lnSpc>
              <a:defRPr/>
            </a:pPr>
            <a:r>
              <a:rPr lang="zh-CN" altLang="en-US" sz="7200" b="1" spc="300">
                <a:solidFill>
                  <a:schemeClr val="bg1"/>
                </a:solidFill>
                <a:latin typeface="思源黑体 CN Regular" panose="020B0500000000000000" charset="-122"/>
                <a:ea typeface="思源黑体 CN Regular" panose="020B0500000000000000" charset="-122"/>
                <a:cs typeface="+mn-ea"/>
                <a:sym typeface="Century Gothic" panose="020B0502020202020204" pitchFamily="34" charset="0"/>
              </a:rPr>
              <a:t>总体工作概述</a:t>
            </a:r>
          </a:p>
        </p:txBody>
      </p:sp>
      <p:sp>
        <p:nvSpPr>
          <p:cNvPr id="3" name="泪滴形 2"/>
          <p:cNvSpPr/>
          <p:nvPr/>
        </p:nvSpPr>
        <p:spPr>
          <a:xfrm>
            <a:off x="2028825" y="2595245"/>
            <a:ext cx="885825" cy="885825"/>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a:solidFill>
                  <a:schemeClr val="accent1"/>
                </a:solidFill>
                <a:latin typeface="锐字真言体免费商用" panose="02010600030101010101" charset="-122"/>
                <a:ea typeface="锐字真言体免费商用" panose="02010600030101010101" charset="-122"/>
              </a:rPr>
              <a:t>1</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box(in)">
                                      <p:cBhvr>
                                        <p:cTn id="7" dur="1000"/>
                                        <p:tgtEl>
                                          <p:spTgt spid="3"/>
                                        </p:tgtEl>
                                      </p:cBhvr>
                                    </p:animEffect>
                                  </p:childTnLst>
                                </p:cTn>
                              </p:par>
                            </p:childTnLst>
                          </p:cTn>
                        </p:par>
                        <p:par>
                          <p:cTn id="8" fill="hold">
                            <p:stCondLst>
                              <p:cond delay="1000"/>
                            </p:stCondLst>
                            <p:childTnLst>
                              <p:par>
                                <p:cTn id="9" presetID="5" presetClass="entr" presetSubtype="1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heckerboard(across)">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矩形 14"/>
          <p:cNvSpPr>
            <a:spLocks noChangeArrowheads="1"/>
          </p:cNvSpPr>
          <p:nvPr/>
        </p:nvSpPr>
        <p:spPr bwMode="auto">
          <a:xfrm flipV="1">
            <a:off x="1" y="3333751"/>
            <a:ext cx="4110567" cy="245533"/>
          </a:xfrm>
          <a:custGeom>
            <a:avLst/>
            <a:gdLst>
              <a:gd name="T0" fmla="*/ 0 w 4571707"/>
              <a:gd name="T1" fmla="*/ 242218 h 242218"/>
              <a:gd name="T2" fmla="*/ 4571707 w 4571707"/>
              <a:gd name="T3" fmla="*/ 242218 h 242218"/>
              <a:gd name="T4" fmla="*/ 4571707 w 4571707"/>
              <a:gd name="T5" fmla="*/ 0 h 242218"/>
              <a:gd name="T6" fmla="*/ 0 w 4571707"/>
              <a:gd name="T7" fmla="*/ 0 h 242218"/>
              <a:gd name="T8" fmla="*/ 0 w 4571707"/>
              <a:gd name="T9" fmla="*/ 242218 h 242218"/>
            </a:gdLst>
            <a:ahLst/>
            <a:cxnLst>
              <a:cxn ang="0">
                <a:pos x="T0" y="T1"/>
              </a:cxn>
              <a:cxn ang="0">
                <a:pos x="T2" y="T3"/>
              </a:cxn>
              <a:cxn ang="0">
                <a:pos x="T4" y="T5"/>
              </a:cxn>
              <a:cxn ang="0">
                <a:pos x="T6" y="T7"/>
              </a:cxn>
              <a:cxn ang="0">
                <a:pos x="T8" y="T9"/>
              </a:cxn>
            </a:cxnLst>
            <a:rect l="0" t="0" r="r" b="b"/>
            <a:pathLst>
              <a:path w="4571707" h="242218">
                <a:moveTo>
                  <a:pt x="0" y="242218"/>
                </a:moveTo>
                <a:lnTo>
                  <a:pt x="4571707" y="242218"/>
                </a:lnTo>
                <a:lnTo>
                  <a:pt x="4571707" y="0"/>
                </a:lnTo>
                <a:lnTo>
                  <a:pt x="0" y="0"/>
                </a:lnTo>
                <a:lnTo>
                  <a:pt x="0" y="242218"/>
                </a:lnTo>
                <a:close/>
              </a:path>
            </a:pathLst>
          </a:custGeom>
          <a:solidFill>
            <a:schemeClr val="accent1"/>
          </a:solidFill>
          <a:ln>
            <a:noFill/>
          </a:ln>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sz="2400" dirty="0">
              <a:latin typeface="Source Han Sans HW SC" panose="020F0502020204030204"/>
              <a:ea typeface="庞门正道标题体" panose="02010600030101010101" pitchFamily="2" charset="-122"/>
              <a:sym typeface="Source Han Sans HW SC" panose="020F0502020204030204"/>
            </a:endParaRPr>
          </a:p>
        </p:txBody>
      </p:sp>
      <p:grpSp>
        <p:nvGrpSpPr>
          <p:cNvPr id="19459" name="组合 40"/>
          <p:cNvGrpSpPr/>
          <p:nvPr/>
        </p:nvGrpSpPr>
        <p:grpSpPr bwMode="auto">
          <a:xfrm>
            <a:off x="3234267" y="3341158"/>
            <a:ext cx="1735667" cy="1735667"/>
            <a:chOff x="0" y="0"/>
            <a:chExt cx="1735762" cy="1734334"/>
          </a:xfrm>
        </p:grpSpPr>
        <p:sp>
          <p:nvSpPr>
            <p:cNvPr id="31747" name="椭圆 41"/>
            <p:cNvSpPr>
              <a:spLocks noChangeArrowheads="1"/>
            </p:cNvSpPr>
            <p:nvPr/>
          </p:nvSpPr>
          <p:spPr bwMode="auto">
            <a:xfrm flipV="1">
              <a:off x="0" y="0"/>
              <a:ext cx="1735762" cy="1734334"/>
            </a:xfrm>
            <a:prstGeom prst="ellipse">
              <a:avLst/>
            </a:prstGeom>
            <a:solidFill>
              <a:schemeClr val="accent1"/>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sz="2400" dirty="0">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endParaRPr>
            </a:p>
          </p:txBody>
        </p:sp>
        <p:sp>
          <p:nvSpPr>
            <p:cNvPr id="31748" name="椭圆 42"/>
            <p:cNvSpPr>
              <a:spLocks noChangeArrowheads="1"/>
            </p:cNvSpPr>
            <p:nvPr/>
          </p:nvSpPr>
          <p:spPr bwMode="auto">
            <a:xfrm rot="10800000" flipV="1">
              <a:off x="242191" y="242641"/>
              <a:ext cx="1284515" cy="128451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tIns="48000" anchor="ctr" anchorCtr="1"/>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4000" b="1">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rPr>
                <a:t>02</a:t>
              </a:r>
            </a:p>
          </p:txBody>
        </p:sp>
      </p:grpSp>
      <p:sp>
        <p:nvSpPr>
          <p:cNvPr id="19462" name="矩形 14"/>
          <p:cNvSpPr>
            <a:spLocks noChangeArrowheads="1"/>
          </p:cNvSpPr>
          <p:nvPr/>
        </p:nvSpPr>
        <p:spPr bwMode="auto">
          <a:xfrm>
            <a:off x="0" y="2798234"/>
            <a:ext cx="7103533" cy="245533"/>
          </a:xfrm>
          <a:custGeom>
            <a:avLst/>
            <a:gdLst>
              <a:gd name="T0" fmla="*/ 0 w 4571707"/>
              <a:gd name="T1" fmla="*/ 0 h 242218"/>
              <a:gd name="T2" fmla="*/ 4571707 w 4571707"/>
              <a:gd name="T3" fmla="*/ 0 h 242218"/>
              <a:gd name="T4" fmla="*/ 4571707 w 4571707"/>
              <a:gd name="T5" fmla="*/ 242218 h 242218"/>
              <a:gd name="T6" fmla="*/ 0 w 4571707"/>
              <a:gd name="T7" fmla="*/ 242218 h 242218"/>
              <a:gd name="T8" fmla="*/ 0 w 4571707"/>
              <a:gd name="T9" fmla="*/ 0 h 242218"/>
            </a:gdLst>
            <a:ahLst/>
            <a:cxnLst>
              <a:cxn ang="0">
                <a:pos x="T0" y="T1"/>
              </a:cxn>
              <a:cxn ang="0">
                <a:pos x="T2" y="T3"/>
              </a:cxn>
              <a:cxn ang="0">
                <a:pos x="T4" y="T5"/>
              </a:cxn>
              <a:cxn ang="0">
                <a:pos x="T6" y="T7"/>
              </a:cxn>
              <a:cxn ang="0">
                <a:pos x="T8" y="T9"/>
              </a:cxn>
            </a:cxnLst>
            <a:rect l="0" t="0" r="r" b="b"/>
            <a:pathLst>
              <a:path w="4571707" h="242218">
                <a:moveTo>
                  <a:pt x="0" y="0"/>
                </a:moveTo>
                <a:lnTo>
                  <a:pt x="4571707" y="0"/>
                </a:lnTo>
                <a:lnTo>
                  <a:pt x="4571707" y="242218"/>
                </a:lnTo>
                <a:lnTo>
                  <a:pt x="0" y="242218"/>
                </a:lnTo>
                <a:lnTo>
                  <a:pt x="0" y="0"/>
                </a:lnTo>
                <a:close/>
              </a:path>
            </a:pathLst>
          </a:custGeom>
          <a:solidFill>
            <a:schemeClr val="accent2"/>
          </a:solidFill>
          <a:ln>
            <a:noFill/>
          </a:ln>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sz="2400">
              <a:latin typeface="Source Han Sans HW SC" panose="020F0502020204030204"/>
              <a:ea typeface="庞门正道标题体" panose="02010600030101010101" pitchFamily="2" charset="-122"/>
              <a:sym typeface="Source Han Sans HW SC" panose="020F0502020204030204"/>
            </a:endParaRPr>
          </a:p>
        </p:txBody>
      </p:sp>
      <p:grpSp>
        <p:nvGrpSpPr>
          <p:cNvPr id="19463" name="组合 45"/>
          <p:cNvGrpSpPr/>
          <p:nvPr/>
        </p:nvGrpSpPr>
        <p:grpSpPr bwMode="auto">
          <a:xfrm>
            <a:off x="6131984" y="1326092"/>
            <a:ext cx="1735667" cy="1735667"/>
            <a:chOff x="0" y="0"/>
            <a:chExt cx="1735762" cy="1735763"/>
          </a:xfrm>
        </p:grpSpPr>
        <p:sp>
          <p:nvSpPr>
            <p:cNvPr id="31751" name="椭圆 46"/>
            <p:cNvSpPr>
              <a:spLocks noChangeArrowheads="1"/>
            </p:cNvSpPr>
            <p:nvPr/>
          </p:nvSpPr>
          <p:spPr bwMode="auto">
            <a:xfrm>
              <a:off x="0" y="0"/>
              <a:ext cx="1735762" cy="1735763"/>
            </a:xfrm>
            <a:prstGeom prst="ellipse">
              <a:avLst/>
            </a:prstGeom>
            <a:solidFill>
              <a:schemeClr val="accent2"/>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sz="2400" dirty="0">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endParaRPr>
            </a:p>
          </p:txBody>
        </p:sp>
        <p:sp>
          <p:nvSpPr>
            <p:cNvPr id="31752" name="椭圆 47"/>
            <p:cNvSpPr>
              <a:spLocks noChangeArrowheads="1"/>
            </p:cNvSpPr>
            <p:nvPr/>
          </p:nvSpPr>
          <p:spPr bwMode="auto">
            <a:xfrm>
              <a:off x="242191" y="207642"/>
              <a:ext cx="1284515" cy="128451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tIns="48000"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4000" b="1">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rPr>
                <a:t>01</a:t>
              </a:r>
            </a:p>
          </p:txBody>
        </p:sp>
      </p:grpSp>
      <p:sp>
        <p:nvSpPr>
          <p:cNvPr id="19466" name="矩形 14"/>
          <p:cNvSpPr>
            <a:spLocks noChangeArrowheads="1"/>
          </p:cNvSpPr>
          <p:nvPr/>
        </p:nvSpPr>
        <p:spPr bwMode="auto">
          <a:xfrm flipV="1">
            <a:off x="6096000" y="3333751"/>
            <a:ext cx="6098117" cy="245533"/>
          </a:xfrm>
          <a:custGeom>
            <a:avLst/>
            <a:gdLst>
              <a:gd name="T0" fmla="*/ 0 w 4571707"/>
              <a:gd name="T1" fmla="*/ 242218 h 242218"/>
              <a:gd name="T2" fmla="*/ 4571707 w 4571707"/>
              <a:gd name="T3" fmla="*/ 242218 h 242218"/>
              <a:gd name="T4" fmla="*/ 4571707 w 4571707"/>
              <a:gd name="T5" fmla="*/ 0 h 242218"/>
              <a:gd name="T6" fmla="*/ 0 w 4571707"/>
              <a:gd name="T7" fmla="*/ 0 h 242218"/>
              <a:gd name="T8" fmla="*/ 0 w 4571707"/>
              <a:gd name="T9" fmla="*/ 242218 h 242218"/>
            </a:gdLst>
            <a:ahLst/>
            <a:cxnLst>
              <a:cxn ang="0">
                <a:pos x="T0" y="T1"/>
              </a:cxn>
              <a:cxn ang="0">
                <a:pos x="T2" y="T3"/>
              </a:cxn>
              <a:cxn ang="0">
                <a:pos x="T4" y="T5"/>
              </a:cxn>
              <a:cxn ang="0">
                <a:pos x="T6" y="T7"/>
              </a:cxn>
              <a:cxn ang="0">
                <a:pos x="T8" y="T9"/>
              </a:cxn>
            </a:cxnLst>
            <a:rect l="0" t="0" r="r" b="b"/>
            <a:pathLst>
              <a:path w="4571707" h="242218">
                <a:moveTo>
                  <a:pt x="0" y="242218"/>
                </a:moveTo>
                <a:lnTo>
                  <a:pt x="4571707" y="242218"/>
                </a:lnTo>
                <a:lnTo>
                  <a:pt x="4571707" y="0"/>
                </a:lnTo>
                <a:lnTo>
                  <a:pt x="0" y="0"/>
                </a:lnTo>
                <a:lnTo>
                  <a:pt x="0" y="242218"/>
                </a:lnTo>
                <a:close/>
              </a:path>
            </a:pathLst>
          </a:custGeom>
          <a:solidFill>
            <a:schemeClr val="accent3"/>
          </a:solidFill>
          <a:ln>
            <a:noFill/>
          </a:ln>
        </p:spPr>
        <p:txBody>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sz="2400">
              <a:latin typeface="Source Han Sans HW SC" panose="020F0502020204030204"/>
              <a:ea typeface="庞门正道标题体" panose="02010600030101010101" pitchFamily="2" charset="-122"/>
              <a:sym typeface="Source Han Sans HW SC" panose="020F0502020204030204"/>
            </a:endParaRPr>
          </a:p>
        </p:txBody>
      </p:sp>
      <p:grpSp>
        <p:nvGrpSpPr>
          <p:cNvPr id="19467" name="组合 50"/>
          <p:cNvGrpSpPr/>
          <p:nvPr/>
        </p:nvGrpSpPr>
        <p:grpSpPr bwMode="auto">
          <a:xfrm>
            <a:off x="5228167" y="3341158"/>
            <a:ext cx="1735667" cy="1735667"/>
            <a:chOff x="0" y="0"/>
            <a:chExt cx="1735762" cy="1734334"/>
          </a:xfrm>
        </p:grpSpPr>
        <p:sp>
          <p:nvSpPr>
            <p:cNvPr id="31755" name="椭圆 51"/>
            <p:cNvSpPr>
              <a:spLocks noChangeArrowheads="1"/>
            </p:cNvSpPr>
            <p:nvPr/>
          </p:nvSpPr>
          <p:spPr bwMode="auto">
            <a:xfrm flipV="1">
              <a:off x="0" y="0"/>
              <a:ext cx="1735762" cy="1734334"/>
            </a:xfrm>
            <a:prstGeom prst="ellipse">
              <a:avLst/>
            </a:prstGeom>
            <a:solidFill>
              <a:schemeClr val="accent3"/>
            </a:solidFill>
            <a:ln>
              <a:noFill/>
            </a:ln>
            <a:extLst>
              <a:ext uri="{91240B29-F687-4F45-9708-019B960494DF}">
                <a14:hiddenLine xmlns:a14="http://schemas.microsoft.com/office/drawing/2010/main" w="9525">
                  <a:solidFill>
                    <a:srgbClr val="000000"/>
                  </a:solidFill>
                  <a:round/>
                </a14:hiddenLine>
              </a:ext>
            </a:extLst>
          </p:spPr>
          <p:txBody>
            <a:bodyPr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endParaRPr lang="zh-CN" altLang="zh-CN" sz="2400" dirty="0">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endParaRPr>
            </a:p>
          </p:txBody>
        </p:sp>
        <p:sp>
          <p:nvSpPr>
            <p:cNvPr id="31756" name="椭圆 52"/>
            <p:cNvSpPr>
              <a:spLocks noChangeArrowheads="1"/>
            </p:cNvSpPr>
            <p:nvPr/>
          </p:nvSpPr>
          <p:spPr bwMode="auto">
            <a:xfrm rot="10800000" flipV="1">
              <a:off x="242191" y="242641"/>
              <a:ext cx="1284515" cy="1284516"/>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tIns="48000" anchor="ct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4000" b="1">
                  <a:solidFill>
                    <a:schemeClr val="tx1">
                      <a:lumMod val="95000"/>
                      <a:lumOff val="5000"/>
                    </a:schemeClr>
                  </a:solidFill>
                  <a:latin typeface="思源黑体 CN Regular" panose="020B0500000000000000" charset="-122"/>
                  <a:ea typeface="思源黑体 CN Regular" panose="020B0500000000000000" charset="-122"/>
                  <a:sym typeface="Source Han Sans HW SC" panose="020F0502020204030204"/>
                </a:rPr>
                <a:t>03</a:t>
              </a:r>
            </a:p>
          </p:txBody>
        </p:sp>
      </p:grpSp>
      <p:sp>
        <p:nvSpPr>
          <p:cNvPr id="24" name="išľíďè"/>
          <p:cNvSpPr/>
          <p:nvPr/>
        </p:nvSpPr>
        <p:spPr bwMode="auto">
          <a:xfrm>
            <a:off x="243262" y="2352605"/>
            <a:ext cx="5333648"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5" name="iSlíďè"/>
          <p:cNvSpPr txBox="1"/>
          <p:nvPr/>
        </p:nvSpPr>
        <p:spPr bwMode="auto">
          <a:xfrm>
            <a:off x="256916" y="2020953"/>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1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26" name="išľíďè"/>
          <p:cNvSpPr/>
          <p:nvPr/>
        </p:nvSpPr>
        <p:spPr bwMode="auto">
          <a:xfrm>
            <a:off x="1040514" y="5170865"/>
            <a:ext cx="3186712"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7" name="iSlíďè"/>
          <p:cNvSpPr txBox="1"/>
          <p:nvPr/>
        </p:nvSpPr>
        <p:spPr bwMode="auto">
          <a:xfrm>
            <a:off x="1054168" y="4839213"/>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1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28" name="išľíďè"/>
          <p:cNvSpPr/>
          <p:nvPr/>
        </p:nvSpPr>
        <p:spPr bwMode="auto">
          <a:xfrm>
            <a:off x="7416939" y="4210373"/>
            <a:ext cx="3186712"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29" name="iSlíďè"/>
          <p:cNvSpPr txBox="1"/>
          <p:nvPr/>
        </p:nvSpPr>
        <p:spPr bwMode="auto">
          <a:xfrm>
            <a:off x="7430593" y="3878721"/>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1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9462"/>
                                        </p:tgtEl>
                                        <p:attrNameLst>
                                          <p:attrName>style.visibility</p:attrName>
                                        </p:attrNameLst>
                                      </p:cBhvr>
                                      <p:to>
                                        <p:strVal val="visible"/>
                                      </p:to>
                                    </p:set>
                                    <p:animEffect>
                                      <p:cBhvr>
                                        <p:cTn id="7" dur="500"/>
                                        <p:tgtEl>
                                          <p:spTgt spid="19462"/>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9463"/>
                                        </p:tgtEl>
                                        <p:attrNameLst>
                                          <p:attrName>style.visibility</p:attrName>
                                        </p:attrNameLst>
                                      </p:cBhvr>
                                      <p:to>
                                        <p:strVal val="visible"/>
                                      </p:to>
                                    </p:set>
                                    <p:animEffect>
                                      <p:cBhvr>
                                        <p:cTn id="11" dur="500"/>
                                        <p:tgtEl>
                                          <p:spTgt spid="19463"/>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9458"/>
                                        </p:tgtEl>
                                        <p:attrNameLst>
                                          <p:attrName>style.visibility</p:attrName>
                                        </p:attrNameLst>
                                      </p:cBhvr>
                                      <p:to>
                                        <p:strVal val="visible"/>
                                      </p:to>
                                    </p:set>
                                    <p:animEffect>
                                      <p:cBhvr>
                                        <p:cTn id="15" dur="500"/>
                                        <p:tgtEl>
                                          <p:spTgt spid="19458"/>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19459"/>
                                        </p:tgtEl>
                                        <p:attrNameLst>
                                          <p:attrName>style.visibility</p:attrName>
                                        </p:attrNameLst>
                                      </p:cBhvr>
                                      <p:to>
                                        <p:strVal val="visible"/>
                                      </p:to>
                                    </p:set>
                                    <p:animEffect>
                                      <p:cBhvr>
                                        <p:cTn id="19" dur="500"/>
                                        <p:tgtEl>
                                          <p:spTgt spid="19459"/>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19466"/>
                                        </p:tgtEl>
                                        <p:attrNameLst>
                                          <p:attrName>style.visibility</p:attrName>
                                        </p:attrNameLst>
                                      </p:cBhvr>
                                      <p:to>
                                        <p:strVal val="visible"/>
                                      </p:to>
                                    </p:set>
                                    <p:animEffect>
                                      <p:cBhvr>
                                        <p:cTn id="23" dur="500"/>
                                        <p:tgtEl>
                                          <p:spTgt spid="19466"/>
                                        </p:tgtEl>
                                      </p:cBhvr>
                                    </p:animEffect>
                                  </p:childTnLst>
                                </p:cTn>
                              </p:par>
                            </p:childTnLst>
                          </p:cTn>
                        </p:par>
                        <p:par>
                          <p:cTn id="24" fill="hold">
                            <p:stCondLst>
                              <p:cond delay="2500"/>
                            </p:stCondLst>
                            <p:childTnLst>
                              <p:par>
                                <p:cTn id="25" presetID="22" presetClass="entr" presetSubtype="1" fill="hold" nodeType="afterEffect">
                                  <p:stCondLst>
                                    <p:cond delay="0"/>
                                  </p:stCondLst>
                                  <p:childTnLst>
                                    <p:set>
                                      <p:cBhvr>
                                        <p:cTn id="26" dur="1" fill="hold">
                                          <p:stCondLst>
                                            <p:cond delay="0"/>
                                          </p:stCondLst>
                                        </p:cTn>
                                        <p:tgtEl>
                                          <p:spTgt spid="19467"/>
                                        </p:tgtEl>
                                        <p:attrNameLst>
                                          <p:attrName>style.visibility</p:attrName>
                                        </p:attrNameLst>
                                      </p:cBhvr>
                                      <p:to>
                                        <p:strVal val="visible"/>
                                      </p:to>
                                    </p:set>
                                    <p:animEffect>
                                      <p:cBhvr>
                                        <p:cTn id="27" dur="500"/>
                                        <p:tgtEl>
                                          <p:spTgt spid="1946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wipe(down)">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wipe(down)">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wipe(down)">
                                      <p:cBhvr>
                                        <p:cTn id="42" dur="500"/>
                                        <p:tgtEl>
                                          <p:spTgt spid="27"/>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4"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animEffect transition="in" filter="wipe(down)">
                                      <p:cBhvr>
                                        <p:cTn id="47" dur="500"/>
                                        <p:tgtEl>
                                          <p:spTgt spid="2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29"/>
                                        </p:tgtEl>
                                        <p:attrNameLst>
                                          <p:attrName>style.visibility</p:attrName>
                                        </p:attrNameLst>
                                      </p:cBhvr>
                                      <p:to>
                                        <p:strVal val="visible"/>
                                      </p:to>
                                    </p:set>
                                    <p:animEffect transition="in" filter="wipe(down)">
                                      <p:cBhvr>
                                        <p:cTn id="52" dur="500"/>
                                        <p:tgtEl>
                                          <p:spTgt spid="2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4" fill="hold" grpId="0"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wipe(down)">
                                      <p:cBhvr>
                                        <p:cTn id="5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5" grpId="0"/>
      <p:bldP spid="26" grpId="0"/>
      <p:bldP spid="27" grpId="0"/>
      <p:bldP spid="28" grpId="0"/>
      <p:bldP spid="2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组合 61"/>
          <p:cNvGrpSpPr/>
          <p:nvPr/>
        </p:nvGrpSpPr>
        <p:grpSpPr>
          <a:xfrm>
            <a:off x="5827970" y="3850741"/>
            <a:ext cx="1097059" cy="1371324"/>
            <a:chOff x="4584586" y="2944269"/>
            <a:chExt cx="822794" cy="1028493"/>
          </a:xfrm>
        </p:grpSpPr>
        <p:grpSp>
          <p:nvGrpSpPr>
            <p:cNvPr id="6" name="组合 5"/>
            <p:cNvGrpSpPr/>
            <p:nvPr/>
          </p:nvGrpSpPr>
          <p:grpSpPr>
            <a:xfrm>
              <a:off x="4584586" y="2944269"/>
              <a:ext cx="822794" cy="1028493"/>
              <a:chOff x="1361326" y="1123950"/>
              <a:chExt cx="1219200" cy="1524000"/>
            </a:xfrm>
            <a:solidFill>
              <a:schemeClr val="accent2"/>
            </a:solidFill>
          </p:grpSpPr>
          <p:sp>
            <p:nvSpPr>
              <p:cNvPr id="51" name="平行四边形 50"/>
              <p:cNvSpPr/>
              <p:nvPr/>
            </p:nvSpPr>
            <p:spPr>
              <a:xfrm>
                <a:off x="1361326" y="1123950"/>
                <a:ext cx="1219200" cy="1524000"/>
              </a:xfrm>
              <a:prstGeom prst="parallelogram">
                <a:avLst>
                  <a:gd name="adj" fmla="val 4314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52" name="直接连接符 51"/>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7" name="椭圆 6"/>
            <p:cNvSpPr/>
            <p:nvPr/>
          </p:nvSpPr>
          <p:spPr>
            <a:xfrm>
              <a:off x="4924863" y="3040980"/>
              <a:ext cx="310262" cy="3102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ar-SA" sz="1865" b="1">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2</a:t>
              </a:r>
              <a:endParaRPr lang="ar-SA"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10" name="任意多边形 11"/>
            <p:cNvSpPr/>
            <p:nvPr/>
          </p:nvSpPr>
          <p:spPr bwMode="auto">
            <a:xfrm>
              <a:off x="4778094" y="3598397"/>
              <a:ext cx="232178" cy="257123"/>
            </a:xfrm>
            <a:custGeom>
              <a:avLst/>
              <a:gdLst/>
              <a:ahLst/>
              <a:cxnLst>
                <a:cxn ang="0">
                  <a:pos x="46" y="62"/>
                </a:cxn>
                <a:cxn ang="0">
                  <a:pos x="10" y="62"/>
                </a:cxn>
                <a:cxn ang="0">
                  <a:pos x="0" y="52"/>
                </a:cxn>
                <a:cxn ang="0">
                  <a:pos x="14" y="29"/>
                </a:cxn>
                <a:cxn ang="0">
                  <a:pos x="28" y="34"/>
                </a:cxn>
                <a:cxn ang="0">
                  <a:pos x="42" y="29"/>
                </a:cxn>
                <a:cxn ang="0">
                  <a:pos x="56" y="52"/>
                </a:cxn>
                <a:cxn ang="0">
                  <a:pos x="46" y="62"/>
                </a:cxn>
                <a:cxn ang="0">
                  <a:pos x="28" y="31"/>
                </a:cxn>
                <a:cxn ang="0">
                  <a:pos x="13" y="16"/>
                </a:cxn>
                <a:cxn ang="0">
                  <a:pos x="28" y="0"/>
                </a:cxn>
                <a:cxn ang="0">
                  <a:pos x="43" y="16"/>
                </a:cxn>
                <a:cxn ang="0">
                  <a:pos x="28" y="31"/>
                </a:cxn>
              </a:cxnLst>
              <a:rect l="0" t="0" r="r" b="b"/>
              <a:pathLst>
                <a:path w="56" h="62">
                  <a:moveTo>
                    <a:pt x="46" y="62"/>
                  </a:moveTo>
                  <a:cubicBezTo>
                    <a:pt x="10" y="62"/>
                    <a:pt x="10" y="62"/>
                    <a:pt x="10" y="62"/>
                  </a:cubicBezTo>
                  <a:cubicBezTo>
                    <a:pt x="4" y="62"/>
                    <a:pt x="0" y="58"/>
                    <a:pt x="0" y="52"/>
                  </a:cubicBezTo>
                  <a:cubicBezTo>
                    <a:pt x="0" y="43"/>
                    <a:pt x="2" y="29"/>
                    <a:pt x="14" y="29"/>
                  </a:cubicBezTo>
                  <a:cubicBezTo>
                    <a:pt x="15" y="29"/>
                    <a:pt x="20" y="34"/>
                    <a:pt x="28" y="34"/>
                  </a:cubicBezTo>
                  <a:cubicBezTo>
                    <a:pt x="36" y="34"/>
                    <a:pt x="41" y="29"/>
                    <a:pt x="42" y="29"/>
                  </a:cubicBezTo>
                  <a:cubicBezTo>
                    <a:pt x="54" y="29"/>
                    <a:pt x="56" y="43"/>
                    <a:pt x="56" y="52"/>
                  </a:cubicBezTo>
                  <a:cubicBezTo>
                    <a:pt x="56" y="58"/>
                    <a:pt x="52" y="62"/>
                    <a:pt x="46" y="62"/>
                  </a:cubicBezTo>
                  <a:close/>
                  <a:moveTo>
                    <a:pt x="28" y="31"/>
                  </a:moveTo>
                  <a:cubicBezTo>
                    <a:pt x="20" y="31"/>
                    <a:pt x="13" y="24"/>
                    <a:pt x="13" y="16"/>
                  </a:cubicBezTo>
                  <a:cubicBezTo>
                    <a:pt x="13" y="7"/>
                    <a:pt x="20" y="0"/>
                    <a:pt x="28" y="0"/>
                  </a:cubicBezTo>
                  <a:cubicBezTo>
                    <a:pt x="37" y="0"/>
                    <a:pt x="43" y="7"/>
                    <a:pt x="43" y="16"/>
                  </a:cubicBezTo>
                  <a:cubicBezTo>
                    <a:pt x="43" y="24"/>
                    <a:pt x="37" y="31"/>
                    <a:pt x="28" y="31"/>
                  </a:cubicBez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12" name="组合 11"/>
          <p:cNvGrpSpPr/>
          <p:nvPr/>
        </p:nvGrpSpPr>
        <p:grpSpPr>
          <a:xfrm>
            <a:off x="5061874" y="2478341"/>
            <a:ext cx="1097059" cy="1371324"/>
            <a:chOff x="4786701" y="2312876"/>
            <a:chExt cx="1097059" cy="1371324"/>
          </a:xfrm>
        </p:grpSpPr>
        <p:grpSp>
          <p:nvGrpSpPr>
            <p:cNvPr id="44" name="组合 43"/>
            <p:cNvGrpSpPr/>
            <p:nvPr/>
          </p:nvGrpSpPr>
          <p:grpSpPr>
            <a:xfrm>
              <a:off x="4786701" y="2312876"/>
              <a:ext cx="1097059" cy="1371324"/>
              <a:chOff x="1371600" y="1123950"/>
              <a:chExt cx="1219200" cy="1524000"/>
            </a:xfrm>
            <a:solidFill>
              <a:schemeClr val="accent4"/>
            </a:solidFill>
          </p:grpSpPr>
          <p:sp>
            <p:nvSpPr>
              <p:cNvPr id="47" name="平行四边形 46"/>
              <p:cNvSpPr/>
              <p:nvPr/>
            </p:nvSpPr>
            <p:spPr>
              <a:xfrm>
                <a:off x="1371600" y="1123950"/>
                <a:ext cx="1219200" cy="1524000"/>
              </a:xfrm>
              <a:prstGeom prst="parallelogram">
                <a:avLst>
                  <a:gd name="adj" fmla="val 4314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48" name="直接连接符 47"/>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5" name="椭圆 44"/>
            <p:cNvSpPr/>
            <p:nvPr/>
          </p:nvSpPr>
          <p:spPr>
            <a:xfrm>
              <a:off x="5238974" y="2453462"/>
              <a:ext cx="413682" cy="413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4</a:t>
              </a:r>
            </a:p>
          </p:txBody>
        </p:sp>
        <p:sp>
          <p:nvSpPr>
            <p:cNvPr id="46" name="任意多边形 13"/>
            <p:cNvSpPr/>
            <p:nvPr/>
          </p:nvSpPr>
          <p:spPr bwMode="auto">
            <a:xfrm>
              <a:off x="5002949" y="3162760"/>
              <a:ext cx="376838" cy="379365"/>
            </a:xfrm>
            <a:custGeom>
              <a:avLst/>
              <a:gdLst/>
              <a:ahLst/>
              <a:cxnLst>
                <a:cxn ang="0">
                  <a:pos x="31" y="67"/>
                </a:cxn>
                <a:cxn ang="0">
                  <a:pos x="23" y="67"/>
                </a:cxn>
                <a:cxn ang="0">
                  <a:pos x="18" y="62"/>
                </a:cxn>
                <a:cxn ang="0">
                  <a:pos x="18" y="51"/>
                </a:cxn>
                <a:cxn ang="0">
                  <a:pos x="7" y="51"/>
                </a:cxn>
                <a:cxn ang="0">
                  <a:pos x="2" y="46"/>
                </a:cxn>
                <a:cxn ang="0">
                  <a:pos x="2" y="38"/>
                </a:cxn>
                <a:cxn ang="0">
                  <a:pos x="39" y="2"/>
                </a:cxn>
                <a:cxn ang="0">
                  <a:pos x="46" y="2"/>
                </a:cxn>
                <a:cxn ang="0">
                  <a:pos x="51" y="7"/>
                </a:cxn>
                <a:cxn ang="0">
                  <a:pos x="51" y="18"/>
                </a:cxn>
                <a:cxn ang="0">
                  <a:pos x="62" y="18"/>
                </a:cxn>
                <a:cxn ang="0">
                  <a:pos x="67" y="23"/>
                </a:cxn>
                <a:cxn ang="0">
                  <a:pos x="67" y="30"/>
                </a:cxn>
                <a:cxn ang="0">
                  <a:pos x="31" y="67"/>
                </a:cxn>
                <a:cxn ang="0">
                  <a:pos x="56" y="31"/>
                </a:cxn>
                <a:cxn ang="0">
                  <a:pos x="56" y="27"/>
                </a:cxn>
                <a:cxn ang="0">
                  <a:pos x="42" y="13"/>
                </a:cxn>
                <a:cxn ang="0">
                  <a:pos x="38" y="13"/>
                </a:cxn>
                <a:cxn ang="0">
                  <a:pos x="13" y="38"/>
                </a:cxn>
                <a:cxn ang="0">
                  <a:pos x="13" y="41"/>
                </a:cxn>
                <a:cxn ang="0">
                  <a:pos x="28" y="56"/>
                </a:cxn>
                <a:cxn ang="0">
                  <a:pos x="30" y="57"/>
                </a:cxn>
                <a:cxn ang="0">
                  <a:pos x="31" y="56"/>
                </a:cxn>
                <a:cxn ang="0">
                  <a:pos x="56" y="31"/>
                </a:cxn>
                <a:cxn ang="0">
                  <a:pos x="53" y="29"/>
                </a:cxn>
                <a:cxn ang="0">
                  <a:pos x="30" y="52"/>
                </a:cxn>
                <a:cxn ang="0">
                  <a:pos x="17" y="39"/>
                </a:cxn>
                <a:cxn ang="0">
                  <a:pos x="40" y="16"/>
                </a:cxn>
                <a:cxn ang="0">
                  <a:pos x="53" y="29"/>
                </a:cxn>
              </a:cxnLst>
              <a:rect l="0" t="0" r="r" b="b"/>
              <a:pathLst>
                <a:path w="69" h="69">
                  <a:moveTo>
                    <a:pt x="31" y="67"/>
                  </a:moveTo>
                  <a:cubicBezTo>
                    <a:pt x="29" y="69"/>
                    <a:pt x="25" y="69"/>
                    <a:pt x="23" y="67"/>
                  </a:cubicBezTo>
                  <a:cubicBezTo>
                    <a:pt x="18" y="62"/>
                    <a:pt x="18" y="62"/>
                    <a:pt x="18" y="62"/>
                  </a:cubicBezTo>
                  <a:cubicBezTo>
                    <a:pt x="21" y="59"/>
                    <a:pt x="21" y="54"/>
                    <a:pt x="18" y="51"/>
                  </a:cubicBezTo>
                  <a:cubicBezTo>
                    <a:pt x="15" y="48"/>
                    <a:pt x="10" y="48"/>
                    <a:pt x="7" y="51"/>
                  </a:cubicBezTo>
                  <a:cubicBezTo>
                    <a:pt x="2" y="46"/>
                    <a:pt x="2" y="46"/>
                    <a:pt x="2" y="46"/>
                  </a:cubicBezTo>
                  <a:cubicBezTo>
                    <a:pt x="0" y="44"/>
                    <a:pt x="0" y="40"/>
                    <a:pt x="2" y="38"/>
                  </a:cubicBezTo>
                  <a:cubicBezTo>
                    <a:pt x="39" y="2"/>
                    <a:pt x="39" y="2"/>
                    <a:pt x="39" y="2"/>
                  </a:cubicBezTo>
                  <a:cubicBezTo>
                    <a:pt x="41" y="0"/>
                    <a:pt x="44" y="0"/>
                    <a:pt x="46" y="2"/>
                  </a:cubicBezTo>
                  <a:cubicBezTo>
                    <a:pt x="51" y="7"/>
                    <a:pt x="51" y="7"/>
                    <a:pt x="51" y="7"/>
                  </a:cubicBezTo>
                  <a:cubicBezTo>
                    <a:pt x="48" y="10"/>
                    <a:pt x="48" y="15"/>
                    <a:pt x="51" y="18"/>
                  </a:cubicBezTo>
                  <a:cubicBezTo>
                    <a:pt x="54" y="21"/>
                    <a:pt x="59" y="21"/>
                    <a:pt x="62" y="18"/>
                  </a:cubicBezTo>
                  <a:cubicBezTo>
                    <a:pt x="67" y="23"/>
                    <a:pt x="67" y="23"/>
                    <a:pt x="67" y="23"/>
                  </a:cubicBezTo>
                  <a:cubicBezTo>
                    <a:pt x="69" y="25"/>
                    <a:pt x="69" y="28"/>
                    <a:pt x="67" y="30"/>
                  </a:cubicBezTo>
                  <a:lnTo>
                    <a:pt x="31" y="67"/>
                  </a:lnTo>
                  <a:close/>
                  <a:moveTo>
                    <a:pt x="56" y="31"/>
                  </a:moveTo>
                  <a:cubicBezTo>
                    <a:pt x="57" y="30"/>
                    <a:pt x="57" y="28"/>
                    <a:pt x="56" y="27"/>
                  </a:cubicBezTo>
                  <a:cubicBezTo>
                    <a:pt x="42" y="13"/>
                    <a:pt x="42" y="13"/>
                    <a:pt x="42" y="13"/>
                  </a:cubicBezTo>
                  <a:cubicBezTo>
                    <a:pt x="41" y="12"/>
                    <a:pt x="39" y="12"/>
                    <a:pt x="38" y="13"/>
                  </a:cubicBezTo>
                  <a:cubicBezTo>
                    <a:pt x="13" y="38"/>
                    <a:pt x="13" y="38"/>
                    <a:pt x="13" y="38"/>
                  </a:cubicBezTo>
                  <a:cubicBezTo>
                    <a:pt x="12" y="39"/>
                    <a:pt x="12" y="40"/>
                    <a:pt x="13" y="41"/>
                  </a:cubicBezTo>
                  <a:cubicBezTo>
                    <a:pt x="28" y="56"/>
                    <a:pt x="28" y="56"/>
                    <a:pt x="28" y="56"/>
                  </a:cubicBezTo>
                  <a:cubicBezTo>
                    <a:pt x="28" y="56"/>
                    <a:pt x="29" y="57"/>
                    <a:pt x="30" y="57"/>
                  </a:cubicBezTo>
                  <a:cubicBezTo>
                    <a:pt x="30" y="57"/>
                    <a:pt x="31" y="56"/>
                    <a:pt x="31" y="56"/>
                  </a:cubicBezTo>
                  <a:lnTo>
                    <a:pt x="56" y="31"/>
                  </a:lnTo>
                  <a:close/>
                  <a:moveTo>
                    <a:pt x="53" y="29"/>
                  </a:moveTo>
                  <a:cubicBezTo>
                    <a:pt x="30" y="52"/>
                    <a:pt x="30" y="52"/>
                    <a:pt x="30" y="52"/>
                  </a:cubicBezTo>
                  <a:cubicBezTo>
                    <a:pt x="17" y="39"/>
                    <a:pt x="17" y="39"/>
                    <a:pt x="17" y="39"/>
                  </a:cubicBezTo>
                  <a:cubicBezTo>
                    <a:pt x="40" y="16"/>
                    <a:pt x="40" y="16"/>
                    <a:pt x="40" y="16"/>
                  </a:cubicBezTo>
                  <a:lnTo>
                    <a:pt x="53" y="29"/>
                  </a:ln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63" name="组合 62"/>
          <p:cNvGrpSpPr/>
          <p:nvPr/>
        </p:nvGrpSpPr>
        <p:grpSpPr>
          <a:xfrm>
            <a:off x="6201511" y="4536948"/>
            <a:ext cx="1097059" cy="1371324"/>
            <a:chOff x="4864743" y="3458924"/>
            <a:chExt cx="822794" cy="1028493"/>
          </a:xfrm>
        </p:grpSpPr>
        <p:grpSp>
          <p:nvGrpSpPr>
            <p:cNvPr id="4" name="组合 3"/>
            <p:cNvGrpSpPr/>
            <p:nvPr/>
          </p:nvGrpSpPr>
          <p:grpSpPr>
            <a:xfrm>
              <a:off x="4864743" y="3458924"/>
              <a:ext cx="822794" cy="1028493"/>
              <a:chOff x="1361326" y="1123950"/>
              <a:chExt cx="1219200" cy="1524000"/>
            </a:xfrm>
            <a:solidFill>
              <a:schemeClr val="accent1"/>
            </a:solidFill>
          </p:grpSpPr>
          <p:sp>
            <p:nvSpPr>
              <p:cNvPr id="53" name="平行四边形 52"/>
              <p:cNvSpPr/>
              <p:nvPr/>
            </p:nvSpPr>
            <p:spPr>
              <a:xfrm>
                <a:off x="1361326" y="1123950"/>
                <a:ext cx="1219200" cy="1524000"/>
              </a:xfrm>
              <a:prstGeom prst="parallelogram">
                <a:avLst>
                  <a:gd name="adj" fmla="val 4314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54" name="直接连接符 53"/>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椭圆 4"/>
            <p:cNvSpPr/>
            <p:nvPr/>
          </p:nvSpPr>
          <p:spPr>
            <a:xfrm>
              <a:off x="5215758" y="3560673"/>
              <a:ext cx="310262" cy="3102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ar-SA" sz="1865" b="1">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1</a:t>
              </a:r>
              <a:endParaRPr lang="ar-SA"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11" name="任意多边形 12"/>
            <p:cNvSpPr>
              <a:spLocks noChangeAspect="1"/>
            </p:cNvSpPr>
            <p:nvPr/>
          </p:nvSpPr>
          <p:spPr bwMode="auto">
            <a:xfrm>
              <a:off x="5019967" y="4150027"/>
              <a:ext cx="293329" cy="236554"/>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60" name="组合 59"/>
          <p:cNvGrpSpPr/>
          <p:nvPr/>
        </p:nvGrpSpPr>
        <p:grpSpPr>
          <a:xfrm>
            <a:off x="5447179" y="3152778"/>
            <a:ext cx="1097059" cy="1371324"/>
            <a:chOff x="4298994" y="2420797"/>
            <a:chExt cx="822794" cy="1028493"/>
          </a:xfrm>
        </p:grpSpPr>
        <p:grpSp>
          <p:nvGrpSpPr>
            <p:cNvPr id="8" name="组合 7"/>
            <p:cNvGrpSpPr/>
            <p:nvPr/>
          </p:nvGrpSpPr>
          <p:grpSpPr>
            <a:xfrm>
              <a:off x="4298994" y="2420797"/>
              <a:ext cx="822794" cy="1028493"/>
              <a:chOff x="1361327" y="1123950"/>
              <a:chExt cx="1219200" cy="1524000"/>
            </a:xfrm>
            <a:solidFill>
              <a:schemeClr val="accent3"/>
            </a:solidFill>
          </p:grpSpPr>
          <p:sp>
            <p:nvSpPr>
              <p:cNvPr id="49" name="平行四边形 48"/>
              <p:cNvSpPr/>
              <p:nvPr/>
            </p:nvSpPr>
            <p:spPr>
              <a:xfrm>
                <a:off x="1361327" y="1123950"/>
                <a:ext cx="1219200" cy="1524000"/>
              </a:xfrm>
              <a:prstGeom prst="parallelogram">
                <a:avLst>
                  <a:gd name="adj" fmla="val 4314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50" name="直接连接符 49"/>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9" name="椭圆 8"/>
            <p:cNvSpPr/>
            <p:nvPr/>
          </p:nvSpPr>
          <p:spPr>
            <a:xfrm>
              <a:off x="4649340" y="2507527"/>
              <a:ext cx="310262" cy="31026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sz="1865" b="1">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3</a:t>
              </a:r>
              <a:endParaRPr lang="en-US"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13" name="任意多边形 14"/>
            <p:cNvSpPr/>
            <p:nvPr/>
          </p:nvSpPr>
          <p:spPr bwMode="auto">
            <a:xfrm>
              <a:off x="4489666" y="3098152"/>
              <a:ext cx="247481" cy="247481"/>
            </a:xfrm>
            <a:custGeom>
              <a:avLst/>
              <a:gdLst/>
              <a:ahLst/>
              <a:cxnLst>
                <a:cxn ang="0">
                  <a:pos x="72" y="68"/>
                </a:cxn>
                <a:cxn ang="0">
                  <a:pos x="68" y="72"/>
                </a:cxn>
                <a:cxn ang="0">
                  <a:pos x="29" y="72"/>
                </a:cxn>
                <a:cxn ang="0">
                  <a:pos x="25" y="68"/>
                </a:cxn>
                <a:cxn ang="0">
                  <a:pos x="25" y="62"/>
                </a:cxn>
                <a:cxn ang="0">
                  <a:pos x="4" y="62"/>
                </a:cxn>
                <a:cxn ang="0">
                  <a:pos x="0" y="58"/>
                </a:cxn>
                <a:cxn ang="0">
                  <a:pos x="0" y="4"/>
                </a:cxn>
                <a:cxn ang="0">
                  <a:pos x="4" y="0"/>
                </a:cxn>
                <a:cxn ang="0">
                  <a:pos x="47" y="0"/>
                </a:cxn>
                <a:cxn ang="0">
                  <a:pos x="51" y="4"/>
                </a:cxn>
                <a:cxn ang="0">
                  <a:pos x="51" y="17"/>
                </a:cxn>
                <a:cxn ang="0">
                  <a:pos x="53" y="18"/>
                </a:cxn>
                <a:cxn ang="0">
                  <a:pos x="69" y="35"/>
                </a:cxn>
                <a:cxn ang="0">
                  <a:pos x="72" y="41"/>
                </a:cxn>
                <a:cxn ang="0">
                  <a:pos x="72" y="68"/>
                </a:cxn>
                <a:cxn ang="0">
                  <a:pos x="41" y="7"/>
                </a:cxn>
                <a:cxn ang="0">
                  <a:pos x="40" y="5"/>
                </a:cxn>
                <a:cxn ang="0">
                  <a:pos x="11" y="5"/>
                </a:cxn>
                <a:cxn ang="0">
                  <a:pos x="10" y="7"/>
                </a:cxn>
                <a:cxn ang="0">
                  <a:pos x="10" y="9"/>
                </a:cxn>
                <a:cxn ang="0">
                  <a:pos x="11" y="11"/>
                </a:cxn>
                <a:cxn ang="0">
                  <a:pos x="40" y="11"/>
                </a:cxn>
                <a:cxn ang="0">
                  <a:pos x="41" y="9"/>
                </a:cxn>
                <a:cxn ang="0">
                  <a:pos x="41" y="7"/>
                </a:cxn>
                <a:cxn ang="0">
                  <a:pos x="67" y="67"/>
                </a:cxn>
                <a:cxn ang="0">
                  <a:pos x="67" y="41"/>
                </a:cxn>
                <a:cxn ang="0">
                  <a:pos x="50" y="41"/>
                </a:cxn>
                <a:cxn ang="0">
                  <a:pos x="46" y="38"/>
                </a:cxn>
                <a:cxn ang="0">
                  <a:pos x="46" y="21"/>
                </a:cxn>
                <a:cxn ang="0">
                  <a:pos x="31" y="21"/>
                </a:cxn>
                <a:cxn ang="0">
                  <a:pos x="31" y="67"/>
                </a:cxn>
                <a:cxn ang="0">
                  <a:pos x="67" y="67"/>
                </a:cxn>
                <a:cxn ang="0">
                  <a:pos x="63" y="36"/>
                </a:cxn>
                <a:cxn ang="0">
                  <a:pos x="51" y="24"/>
                </a:cxn>
                <a:cxn ang="0">
                  <a:pos x="51" y="36"/>
                </a:cxn>
                <a:cxn ang="0">
                  <a:pos x="63" y="36"/>
                </a:cxn>
              </a:cxnLst>
              <a:rect l="0" t="0" r="r" b="b"/>
              <a:pathLst>
                <a:path w="72" h="72">
                  <a:moveTo>
                    <a:pt x="72" y="68"/>
                  </a:moveTo>
                  <a:cubicBezTo>
                    <a:pt x="72" y="71"/>
                    <a:pt x="70" y="72"/>
                    <a:pt x="68" y="72"/>
                  </a:cubicBezTo>
                  <a:cubicBezTo>
                    <a:pt x="29" y="72"/>
                    <a:pt x="29" y="72"/>
                    <a:pt x="29" y="72"/>
                  </a:cubicBezTo>
                  <a:cubicBezTo>
                    <a:pt x="27" y="72"/>
                    <a:pt x="25" y="71"/>
                    <a:pt x="25" y="68"/>
                  </a:cubicBezTo>
                  <a:cubicBezTo>
                    <a:pt x="25" y="62"/>
                    <a:pt x="25" y="62"/>
                    <a:pt x="25" y="62"/>
                  </a:cubicBezTo>
                  <a:cubicBezTo>
                    <a:pt x="4" y="62"/>
                    <a:pt x="4" y="62"/>
                    <a:pt x="4" y="62"/>
                  </a:cubicBezTo>
                  <a:cubicBezTo>
                    <a:pt x="1" y="62"/>
                    <a:pt x="0" y="60"/>
                    <a:pt x="0" y="58"/>
                  </a:cubicBezTo>
                  <a:cubicBezTo>
                    <a:pt x="0" y="4"/>
                    <a:pt x="0" y="4"/>
                    <a:pt x="0" y="4"/>
                  </a:cubicBezTo>
                  <a:cubicBezTo>
                    <a:pt x="0" y="2"/>
                    <a:pt x="1" y="0"/>
                    <a:pt x="4" y="0"/>
                  </a:cubicBezTo>
                  <a:cubicBezTo>
                    <a:pt x="47" y="0"/>
                    <a:pt x="47" y="0"/>
                    <a:pt x="47" y="0"/>
                  </a:cubicBezTo>
                  <a:cubicBezTo>
                    <a:pt x="49" y="0"/>
                    <a:pt x="51" y="2"/>
                    <a:pt x="51" y="4"/>
                  </a:cubicBezTo>
                  <a:cubicBezTo>
                    <a:pt x="51" y="17"/>
                    <a:pt x="51" y="17"/>
                    <a:pt x="51" y="17"/>
                  </a:cubicBezTo>
                  <a:cubicBezTo>
                    <a:pt x="52" y="18"/>
                    <a:pt x="52" y="18"/>
                    <a:pt x="53" y="18"/>
                  </a:cubicBezTo>
                  <a:cubicBezTo>
                    <a:pt x="69" y="35"/>
                    <a:pt x="69" y="35"/>
                    <a:pt x="69" y="35"/>
                  </a:cubicBezTo>
                  <a:cubicBezTo>
                    <a:pt x="71" y="36"/>
                    <a:pt x="72" y="39"/>
                    <a:pt x="72" y="41"/>
                  </a:cubicBezTo>
                  <a:lnTo>
                    <a:pt x="72" y="68"/>
                  </a:lnTo>
                  <a:close/>
                  <a:moveTo>
                    <a:pt x="41" y="7"/>
                  </a:moveTo>
                  <a:cubicBezTo>
                    <a:pt x="41" y="6"/>
                    <a:pt x="40" y="5"/>
                    <a:pt x="40" y="5"/>
                  </a:cubicBezTo>
                  <a:cubicBezTo>
                    <a:pt x="11" y="5"/>
                    <a:pt x="11" y="5"/>
                    <a:pt x="11" y="5"/>
                  </a:cubicBezTo>
                  <a:cubicBezTo>
                    <a:pt x="11" y="5"/>
                    <a:pt x="10" y="6"/>
                    <a:pt x="10" y="7"/>
                  </a:cubicBezTo>
                  <a:cubicBezTo>
                    <a:pt x="10" y="9"/>
                    <a:pt x="10" y="9"/>
                    <a:pt x="10" y="9"/>
                  </a:cubicBezTo>
                  <a:cubicBezTo>
                    <a:pt x="10" y="10"/>
                    <a:pt x="11" y="11"/>
                    <a:pt x="11" y="11"/>
                  </a:cubicBezTo>
                  <a:cubicBezTo>
                    <a:pt x="40" y="11"/>
                    <a:pt x="40" y="11"/>
                    <a:pt x="40" y="11"/>
                  </a:cubicBezTo>
                  <a:cubicBezTo>
                    <a:pt x="40" y="11"/>
                    <a:pt x="41" y="10"/>
                    <a:pt x="41" y="9"/>
                  </a:cubicBezTo>
                  <a:lnTo>
                    <a:pt x="41" y="7"/>
                  </a:lnTo>
                  <a:close/>
                  <a:moveTo>
                    <a:pt x="67" y="67"/>
                  </a:moveTo>
                  <a:cubicBezTo>
                    <a:pt x="67" y="41"/>
                    <a:pt x="67" y="41"/>
                    <a:pt x="67" y="41"/>
                  </a:cubicBezTo>
                  <a:cubicBezTo>
                    <a:pt x="50" y="41"/>
                    <a:pt x="50" y="41"/>
                    <a:pt x="50" y="41"/>
                  </a:cubicBezTo>
                  <a:cubicBezTo>
                    <a:pt x="48" y="41"/>
                    <a:pt x="46" y="40"/>
                    <a:pt x="46" y="38"/>
                  </a:cubicBezTo>
                  <a:cubicBezTo>
                    <a:pt x="46" y="21"/>
                    <a:pt x="46" y="21"/>
                    <a:pt x="46" y="21"/>
                  </a:cubicBezTo>
                  <a:cubicBezTo>
                    <a:pt x="31" y="21"/>
                    <a:pt x="31" y="21"/>
                    <a:pt x="31" y="21"/>
                  </a:cubicBezTo>
                  <a:cubicBezTo>
                    <a:pt x="31" y="67"/>
                    <a:pt x="31" y="67"/>
                    <a:pt x="31" y="67"/>
                  </a:cubicBezTo>
                  <a:lnTo>
                    <a:pt x="67" y="67"/>
                  </a:lnTo>
                  <a:close/>
                  <a:moveTo>
                    <a:pt x="63" y="36"/>
                  </a:moveTo>
                  <a:cubicBezTo>
                    <a:pt x="51" y="24"/>
                    <a:pt x="51" y="24"/>
                    <a:pt x="51" y="24"/>
                  </a:cubicBezTo>
                  <a:cubicBezTo>
                    <a:pt x="51" y="36"/>
                    <a:pt x="51" y="36"/>
                    <a:pt x="51" y="36"/>
                  </a:cubicBezTo>
                  <a:lnTo>
                    <a:pt x="63" y="36"/>
                  </a:ln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18" name="组合 17"/>
          <p:cNvGrpSpPr/>
          <p:nvPr/>
        </p:nvGrpSpPr>
        <p:grpSpPr>
          <a:xfrm>
            <a:off x="4679864" y="1784904"/>
            <a:ext cx="1097059" cy="1371324"/>
            <a:chOff x="4786701" y="2312876"/>
            <a:chExt cx="1097059" cy="1371324"/>
          </a:xfrm>
        </p:grpSpPr>
        <p:grpSp>
          <p:nvGrpSpPr>
            <p:cNvPr id="31" name="组合 30"/>
            <p:cNvGrpSpPr/>
            <p:nvPr/>
          </p:nvGrpSpPr>
          <p:grpSpPr>
            <a:xfrm>
              <a:off x="4786701" y="2312876"/>
              <a:ext cx="1097059" cy="1371324"/>
              <a:chOff x="1371600" y="1123950"/>
              <a:chExt cx="1219200" cy="1524000"/>
            </a:xfrm>
            <a:solidFill>
              <a:schemeClr val="accent4"/>
            </a:solidFill>
          </p:grpSpPr>
          <p:sp>
            <p:nvSpPr>
              <p:cNvPr id="34" name="平行四边形 33"/>
              <p:cNvSpPr/>
              <p:nvPr/>
            </p:nvSpPr>
            <p:spPr>
              <a:xfrm>
                <a:off x="1371600" y="1123950"/>
                <a:ext cx="1219200" cy="1524000"/>
              </a:xfrm>
              <a:prstGeom prst="parallelogram">
                <a:avLst>
                  <a:gd name="adj" fmla="val 4314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35" name="直接连接符 34"/>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椭圆 31"/>
            <p:cNvSpPr/>
            <p:nvPr/>
          </p:nvSpPr>
          <p:spPr>
            <a:xfrm>
              <a:off x="5238974" y="2453462"/>
              <a:ext cx="413682" cy="413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sz="1865" b="1">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5</a:t>
              </a:r>
              <a:endParaRPr lang="en-US"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33" name="任意多边形 38"/>
            <p:cNvSpPr/>
            <p:nvPr/>
          </p:nvSpPr>
          <p:spPr bwMode="auto">
            <a:xfrm>
              <a:off x="5002949" y="3162760"/>
              <a:ext cx="376838" cy="379365"/>
            </a:xfrm>
            <a:custGeom>
              <a:avLst/>
              <a:gdLst/>
              <a:ahLst/>
              <a:cxnLst>
                <a:cxn ang="0">
                  <a:pos x="31" y="67"/>
                </a:cxn>
                <a:cxn ang="0">
                  <a:pos x="23" y="67"/>
                </a:cxn>
                <a:cxn ang="0">
                  <a:pos x="18" y="62"/>
                </a:cxn>
                <a:cxn ang="0">
                  <a:pos x="18" y="51"/>
                </a:cxn>
                <a:cxn ang="0">
                  <a:pos x="7" y="51"/>
                </a:cxn>
                <a:cxn ang="0">
                  <a:pos x="2" y="46"/>
                </a:cxn>
                <a:cxn ang="0">
                  <a:pos x="2" y="38"/>
                </a:cxn>
                <a:cxn ang="0">
                  <a:pos x="39" y="2"/>
                </a:cxn>
                <a:cxn ang="0">
                  <a:pos x="46" y="2"/>
                </a:cxn>
                <a:cxn ang="0">
                  <a:pos x="51" y="7"/>
                </a:cxn>
                <a:cxn ang="0">
                  <a:pos x="51" y="18"/>
                </a:cxn>
                <a:cxn ang="0">
                  <a:pos x="62" y="18"/>
                </a:cxn>
                <a:cxn ang="0">
                  <a:pos x="67" y="23"/>
                </a:cxn>
                <a:cxn ang="0">
                  <a:pos x="67" y="30"/>
                </a:cxn>
                <a:cxn ang="0">
                  <a:pos x="31" y="67"/>
                </a:cxn>
                <a:cxn ang="0">
                  <a:pos x="56" y="31"/>
                </a:cxn>
                <a:cxn ang="0">
                  <a:pos x="56" y="27"/>
                </a:cxn>
                <a:cxn ang="0">
                  <a:pos x="42" y="13"/>
                </a:cxn>
                <a:cxn ang="0">
                  <a:pos x="38" y="13"/>
                </a:cxn>
                <a:cxn ang="0">
                  <a:pos x="13" y="38"/>
                </a:cxn>
                <a:cxn ang="0">
                  <a:pos x="13" y="41"/>
                </a:cxn>
                <a:cxn ang="0">
                  <a:pos x="28" y="56"/>
                </a:cxn>
                <a:cxn ang="0">
                  <a:pos x="30" y="57"/>
                </a:cxn>
                <a:cxn ang="0">
                  <a:pos x="31" y="56"/>
                </a:cxn>
                <a:cxn ang="0">
                  <a:pos x="56" y="31"/>
                </a:cxn>
                <a:cxn ang="0">
                  <a:pos x="53" y="29"/>
                </a:cxn>
                <a:cxn ang="0">
                  <a:pos x="30" y="52"/>
                </a:cxn>
                <a:cxn ang="0">
                  <a:pos x="17" y="39"/>
                </a:cxn>
                <a:cxn ang="0">
                  <a:pos x="40" y="16"/>
                </a:cxn>
                <a:cxn ang="0">
                  <a:pos x="53" y="29"/>
                </a:cxn>
              </a:cxnLst>
              <a:rect l="0" t="0" r="r" b="b"/>
              <a:pathLst>
                <a:path w="69" h="69">
                  <a:moveTo>
                    <a:pt x="31" y="67"/>
                  </a:moveTo>
                  <a:cubicBezTo>
                    <a:pt x="29" y="69"/>
                    <a:pt x="25" y="69"/>
                    <a:pt x="23" y="67"/>
                  </a:cubicBezTo>
                  <a:cubicBezTo>
                    <a:pt x="18" y="62"/>
                    <a:pt x="18" y="62"/>
                    <a:pt x="18" y="62"/>
                  </a:cubicBezTo>
                  <a:cubicBezTo>
                    <a:pt x="21" y="59"/>
                    <a:pt x="21" y="54"/>
                    <a:pt x="18" y="51"/>
                  </a:cubicBezTo>
                  <a:cubicBezTo>
                    <a:pt x="15" y="48"/>
                    <a:pt x="10" y="48"/>
                    <a:pt x="7" y="51"/>
                  </a:cubicBezTo>
                  <a:cubicBezTo>
                    <a:pt x="2" y="46"/>
                    <a:pt x="2" y="46"/>
                    <a:pt x="2" y="46"/>
                  </a:cubicBezTo>
                  <a:cubicBezTo>
                    <a:pt x="0" y="44"/>
                    <a:pt x="0" y="40"/>
                    <a:pt x="2" y="38"/>
                  </a:cubicBezTo>
                  <a:cubicBezTo>
                    <a:pt x="39" y="2"/>
                    <a:pt x="39" y="2"/>
                    <a:pt x="39" y="2"/>
                  </a:cubicBezTo>
                  <a:cubicBezTo>
                    <a:pt x="41" y="0"/>
                    <a:pt x="44" y="0"/>
                    <a:pt x="46" y="2"/>
                  </a:cubicBezTo>
                  <a:cubicBezTo>
                    <a:pt x="51" y="7"/>
                    <a:pt x="51" y="7"/>
                    <a:pt x="51" y="7"/>
                  </a:cubicBezTo>
                  <a:cubicBezTo>
                    <a:pt x="48" y="10"/>
                    <a:pt x="48" y="15"/>
                    <a:pt x="51" y="18"/>
                  </a:cubicBezTo>
                  <a:cubicBezTo>
                    <a:pt x="54" y="21"/>
                    <a:pt x="59" y="21"/>
                    <a:pt x="62" y="18"/>
                  </a:cubicBezTo>
                  <a:cubicBezTo>
                    <a:pt x="67" y="23"/>
                    <a:pt x="67" y="23"/>
                    <a:pt x="67" y="23"/>
                  </a:cubicBezTo>
                  <a:cubicBezTo>
                    <a:pt x="69" y="25"/>
                    <a:pt x="69" y="28"/>
                    <a:pt x="67" y="30"/>
                  </a:cubicBezTo>
                  <a:lnTo>
                    <a:pt x="31" y="67"/>
                  </a:lnTo>
                  <a:close/>
                  <a:moveTo>
                    <a:pt x="56" y="31"/>
                  </a:moveTo>
                  <a:cubicBezTo>
                    <a:pt x="57" y="30"/>
                    <a:pt x="57" y="28"/>
                    <a:pt x="56" y="27"/>
                  </a:cubicBezTo>
                  <a:cubicBezTo>
                    <a:pt x="42" y="13"/>
                    <a:pt x="42" y="13"/>
                    <a:pt x="42" y="13"/>
                  </a:cubicBezTo>
                  <a:cubicBezTo>
                    <a:pt x="41" y="12"/>
                    <a:pt x="39" y="12"/>
                    <a:pt x="38" y="13"/>
                  </a:cubicBezTo>
                  <a:cubicBezTo>
                    <a:pt x="13" y="38"/>
                    <a:pt x="13" y="38"/>
                    <a:pt x="13" y="38"/>
                  </a:cubicBezTo>
                  <a:cubicBezTo>
                    <a:pt x="12" y="39"/>
                    <a:pt x="12" y="40"/>
                    <a:pt x="13" y="41"/>
                  </a:cubicBezTo>
                  <a:cubicBezTo>
                    <a:pt x="28" y="56"/>
                    <a:pt x="28" y="56"/>
                    <a:pt x="28" y="56"/>
                  </a:cubicBezTo>
                  <a:cubicBezTo>
                    <a:pt x="28" y="56"/>
                    <a:pt x="29" y="57"/>
                    <a:pt x="30" y="57"/>
                  </a:cubicBezTo>
                  <a:cubicBezTo>
                    <a:pt x="30" y="57"/>
                    <a:pt x="31" y="56"/>
                    <a:pt x="31" y="56"/>
                  </a:cubicBezTo>
                  <a:lnTo>
                    <a:pt x="56" y="31"/>
                  </a:lnTo>
                  <a:close/>
                  <a:moveTo>
                    <a:pt x="53" y="29"/>
                  </a:moveTo>
                  <a:cubicBezTo>
                    <a:pt x="30" y="52"/>
                    <a:pt x="30" y="52"/>
                    <a:pt x="30" y="52"/>
                  </a:cubicBezTo>
                  <a:cubicBezTo>
                    <a:pt x="17" y="39"/>
                    <a:pt x="17" y="39"/>
                    <a:pt x="17" y="39"/>
                  </a:cubicBezTo>
                  <a:cubicBezTo>
                    <a:pt x="40" y="16"/>
                    <a:pt x="40" y="16"/>
                    <a:pt x="40" y="16"/>
                  </a:cubicBezTo>
                  <a:lnTo>
                    <a:pt x="53" y="29"/>
                  </a:ln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grpSp>
        <p:nvGrpSpPr>
          <p:cNvPr id="20" name="组合 19"/>
          <p:cNvGrpSpPr/>
          <p:nvPr/>
        </p:nvGrpSpPr>
        <p:grpSpPr>
          <a:xfrm>
            <a:off x="4288003" y="1105942"/>
            <a:ext cx="1097059" cy="1371324"/>
            <a:chOff x="4786701" y="2312876"/>
            <a:chExt cx="1097059" cy="1371324"/>
          </a:xfrm>
        </p:grpSpPr>
        <p:grpSp>
          <p:nvGrpSpPr>
            <p:cNvPr id="24" name="组合 23"/>
            <p:cNvGrpSpPr/>
            <p:nvPr/>
          </p:nvGrpSpPr>
          <p:grpSpPr>
            <a:xfrm>
              <a:off x="4786701" y="2312876"/>
              <a:ext cx="1097059" cy="1371324"/>
              <a:chOff x="1371600" y="1123950"/>
              <a:chExt cx="1219200" cy="1524000"/>
            </a:xfrm>
            <a:solidFill>
              <a:schemeClr val="accent4"/>
            </a:solidFill>
          </p:grpSpPr>
          <p:sp>
            <p:nvSpPr>
              <p:cNvPr id="27" name="平行四边形 26"/>
              <p:cNvSpPr/>
              <p:nvPr/>
            </p:nvSpPr>
            <p:spPr>
              <a:xfrm>
                <a:off x="1371600" y="1123950"/>
                <a:ext cx="1219200" cy="1524000"/>
              </a:xfrm>
              <a:prstGeom prst="parallelogram">
                <a:avLst>
                  <a:gd name="adj" fmla="val 43141"/>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cxnSp>
            <p:nvCxnSpPr>
              <p:cNvPr id="28" name="直接连接符 27"/>
              <p:cNvCxnSpPr/>
              <p:nvPr/>
            </p:nvCxnSpPr>
            <p:spPr>
              <a:xfrm>
                <a:off x="1749604" y="1884958"/>
                <a:ext cx="457200" cy="1985"/>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 name="椭圆 24"/>
            <p:cNvSpPr/>
            <p:nvPr/>
          </p:nvSpPr>
          <p:spPr>
            <a:xfrm>
              <a:off x="5238974" y="2453462"/>
              <a:ext cx="413682" cy="4136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anchor="ctr">
              <a:normAutofit fontScale="85000" lnSpcReduction="20000"/>
            </a:bodyPr>
            <a:lstStyle/>
            <a:p>
              <a:pPr algn="ctr"/>
              <a:r>
                <a:rPr lang="en-US" sz="1865" b="1">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rPr>
                <a:t>6</a:t>
              </a:r>
              <a:endParaRPr lang="en-US" sz="1865" b="1" dirty="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sp>
          <p:nvSpPr>
            <p:cNvPr id="26" name="任意多边形 48"/>
            <p:cNvSpPr/>
            <p:nvPr/>
          </p:nvSpPr>
          <p:spPr bwMode="auto">
            <a:xfrm>
              <a:off x="5002949" y="3162760"/>
              <a:ext cx="376838" cy="379365"/>
            </a:xfrm>
            <a:custGeom>
              <a:avLst/>
              <a:gdLst/>
              <a:ahLst/>
              <a:cxnLst>
                <a:cxn ang="0">
                  <a:pos x="31" y="67"/>
                </a:cxn>
                <a:cxn ang="0">
                  <a:pos x="23" y="67"/>
                </a:cxn>
                <a:cxn ang="0">
                  <a:pos x="18" y="62"/>
                </a:cxn>
                <a:cxn ang="0">
                  <a:pos x="18" y="51"/>
                </a:cxn>
                <a:cxn ang="0">
                  <a:pos x="7" y="51"/>
                </a:cxn>
                <a:cxn ang="0">
                  <a:pos x="2" y="46"/>
                </a:cxn>
                <a:cxn ang="0">
                  <a:pos x="2" y="38"/>
                </a:cxn>
                <a:cxn ang="0">
                  <a:pos x="39" y="2"/>
                </a:cxn>
                <a:cxn ang="0">
                  <a:pos x="46" y="2"/>
                </a:cxn>
                <a:cxn ang="0">
                  <a:pos x="51" y="7"/>
                </a:cxn>
                <a:cxn ang="0">
                  <a:pos x="51" y="18"/>
                </a:cxn>
                <a:cxn ang="0">
                  <a:pos x="62" y="18"/>
                </a:cxn>
                <a:cxn ang="0">
                  <a:pos x="67" y="23"/>
                </a:cxn>
                <a:cxn ang="0">
                  <a:pos x="67" y="30"/>
                </a:cxn>
                <a:cxn ang="0">
                  <a:pos x="31" y="67"/>
                </a:cxn>
                <a:cxn ang="0">
                  <a:pos x="56" y="31"/>
                </a:cxn>
                <a:cxn ang="0">
                  <a:pos x="56" y="27"/>
                </a:cxn>
                <a:cxn ang="0">
                  <a:pos x="42" y="13"/>
                </a:cxn>
                <a:cxn ang="0">
                  <a:pos x="38" y="13"/>
                </a:cxn>
                <a:cxn ang="0">
                  <a:pos x="13" y="38"/>
                </a:cxn>
                <a:cxn ang="0">
                  <a:pos x="13" y="41"/>
                </a:cxn>
                <a:cxn ang="0">
                  <a:pos x="28" y="56"/>
                </a:cxn>
                <a:cxn ang="0">
                  <a:pos x="30" y="57"/>
                </a:cxn>
                <a:cxn ang="0">
                  <a:pos x="31" y="56"/>
                </a:cxn>
                <a:cxn ang="0">
                  <a:pos x="56" y="31"/>
                </a:cxn>
                <a:cxn ang="0">
                  <a:pos x="53" y="29"/>
                </a:cxn>
                <a:cxn ang="0">
                  <a:pos x="30" y="52"/>
                </a:cxn>
                <a:cxn ang="0">
                  <a:pos x="17" y="39"/>
                </a:cxn>
                <a:cxn ang="0">
                  <a:pos x="40" y="16"/>
                </a:cxn>
                <a:cxn ang="0">
                  <a:pos x="53" y="29"/>
                </a:cxn>
              </a:cxnLst>
              <a:rect l="0" t="0" r="r" b="b"/>
              <a:pathLst>
                <a:path w="69" h="69">
                  <a:moveTo>
                    <a:pt x="31" y="67"/>
                  </a:moveTo>
                  <a:cubicBezTo>
                    <a:pt x="29" y="69"/>
                    <a:pt x="25" y="69"/>
                    <a:pt x="23" y="67"/>
                  </a:cubicBezTo>
                  <a:cubicBezTo>
                    <a:pt x="18" y="62"/>
                    <a:pt x="18" y="62"/>
                    <a:pt x="18" y="62"/>
                  </a:cubicBezTo>
                  <a:cubicBezTo>
                    <a:pt x="21" y="59"/>
                    <a:pt x="21" y="54"/>
                    <a:pt x="18" y="51"/>
                  </a:cubicBezTo>
                  <a:cubicBezTo>
                    <a:pt x="15" y="48"/>
                    <a:pt x="10" y="48"/>
                    <a:pt x="7" y="51"/>
                  </a:cubicBezTo>
                  <a:cubicBezTo>
                    <a:pt x="2" y="46"/>
                    <a:pt x="2" y="46"/>
                    <a:pt x="2" y="46"/>
                  </a:cubicBezTo>
                  <a:cubicBezTo>
                    <a:pt x="0" y="44"/>
                    <a:pt x="0" y="40"/>
                    <a:pt x="2" y="38"/>
                  </a:cubicBezTo>
                  <a:cubicBezTo>
                    <a:pt x="39" y="2"/>
                    <a:pt x="39" y="2"/>
                    <a:pt x="39" y="2"/>
                  </a:cubicBezTo>
                  <a:cubicBezTo>
                    <a:pt x="41" y="0"/>
                    <a:pt x="44" y="0"/>
                    <a:pt x="46" y="2"/>
                  </a:cubicBezTo>
                  <a:cubicBezTo>
                    <a:pt x="51" y="7"/>
                    <a:pt x="51" y="7"/>
                    <a:pt x="51" y="7"/>
                  </a:cubicBezTo>
                  <a:cubicBezTo>
                    <a:pt x="48" y="10"/>
                    <a:pt x="48" y="15"/>
                    <a:pt x="51" y="18"/>
                  </a:cubicBezTo>
                  <a:cubicBezTo>
                    <a:pt x="54" y="21"/>
                    <a:pt x="59" y="21"/>
                    <a:pt x="62" y="18"/>
                  </a:cubicBezTo>
                  <a:cubicBezTo>
                    <a:pt x="67" y="23"/>
                    <a:pt x="67" y="23"/>
                    <a:pt x="67" y="23"/>
                  </a:cubicBezTo>
                  <a:cubicBezTo>
                    <a:pt x="69" y="25"/>
                    <a:pt x="69" y="28"/>
                    <a:pt x="67" y="30"/>
                  </a:cubicBezTo>
                  <a:lnTo>
                    <a:pt x="31" y="67"/>
                  </a:lnTo>
                  <a:close/>
                  <a:moveTo>
                    <a:pt x="56" y="31"/>
                  </a:moveTo>
                  <a:cubicBezTo>
                    <a:pt x="57" y="30"/>
                    <a:pt x="57" y="28"/>
                    <a:pt x="56" y="27"/>
                  </a:cubicBezTo>
                  <a:cubicBezTo>
                    <a:pt x="42" y="13"/>
                    <a:pt x="42" y="13"/>
                    <a:pt x="42" y="13"/>
                  </a:cubicBezTo>
                  <a:cubicBezTo>
                    <a:pt x="41" y="12"/>
                    <a:pt x="39" y="12"/>
                    <a:pt x="38" y="13"/>
                  </a:cubicBezTo>
                  <a:cubicBezTo>
                    <a:pt x="13" y="38"/>
                    <a:pt x="13" y="38"/>
                    <a:pt x="13" y="38"/>
                  </a:cubicBezTo>
                  <a:cubicBezTo>
                    <a:pt x="12" y="39"/>
                    <a:pt x="12" y="40"/>
                    <a:pt x="13" y="41"/>
                  </a:cubicBezTo>
                  <a:cubicBezTo>
                    <a:pt x="28" y="56"/>
                    <a:pt x="28" y="56"/>
                    <a:pt x="28" y="56"/>
                  </a:cubicBezTo>
                  <a:cubicBezTo>
                    <a:pt x="28" y="56"/>
                    <a:pt x="29" y="57"/>
                    <a:pt x="30" y="57"/>
                  </a:cubicBezTo>
                  <a:cubicBezTo>
                    <a:pt x="30" y="57"/>
                    <a:pt x="31" y="56"/>
                    <a:pt x="31" y="56"/>
                  </a:cubicBezTo>
                  <a:lnTo>
                    <a:pt x="56" y="31"/>
                  </a:lnTo>
                  <a:close/>
                  <a:moveTo>
                    <a:pt x="53" y="29"/>
                  </a:moveTo>
                  <a:cubicBezTo>
                    <a:pt x="30" y="52"/>
                    <a:pt x="30" y="52"/>
                    <a:pt x="30" y="52"/>
                  </a:cubicBezTo>
                  <a:cubicBezTo>
                    <a:pt x="17" y="39"/>
                    <a:pt x="17" y="39"/>
                    <a:pt x="17" y="39"/>
                  </a:cubicBezTo>
                  <a:cubicBezTo>
                    <a:pt x="40" y="16"/>
                    <a:pt x="40" y="16"/>
                    <a:pt x="40" y="16"/>
                  </a:cubicBezTo>
                  <a:lnTo>
                    <a:pt x="53" y="29"/>
                  </a:lnTo>
                  <a:close/>
                </a:path>
              </a:pathLst>
            </a:custGeom>
            <a:solidFill>
              <a:schemeClr val="bg1"/>
            </a:solidFill>
            <a:ln w="9525">
              <a:noFill/>
              <a:round/>
            </a:ln>
          </p:spPr>
          <p:txBody>
            <a:bodyPr anchor="ctr"/>
            <a:lstStyle/>
            <a:p>
              <a:pPr algn="ctr"/>
              <a:endParaRPr sz="2400">
                <a:solidFill>
                  <a:schemeClr val="bg1">
                    <a:lumMod val="50000"/>
                  </a:schemeClr>
                </a:solidFill>
                <a:latin typeface="Source Han Sans HW SC" panose="020F0502020204030204"/>
                <a:ea typeface="庞门正道标题体" panose="02010600030101010101" pitchFamily="2" charset="-122"/>
                <a:sym typeface="Source Han Sans HW SC" panose="020F0502020204030204"/>
              </a:endParaRPr>
            </a:p>
          </p:txBody>
        </p:sp>
      </p:grpSp>
      <p:sp>
        <p:nvSpPr>
          <p:cNvPr id="65" name="išľíďè"/>
          <p:cNvSpPr/>
          <p:nvPr/>
        </p:nvSpPr>
        <p:spPr bwMode="auto">
          <a:xfrm>
            <a:off x="1399547" y="2032719"/>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66" name="iSlíďè"/>
          <p:cNvSpPr txBox="1"/>
          <p:nvPr/>
        </p:nvSpPr>
        <p:spPr bwMode="auto">
          <a:xfrm>
            <a:off x="1399547" y="1602405"/>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1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67" name="išľíďè"/>
          <p:cNvSpPr/>
          <p:nvPr/>
        </p:nvSpPr>
        <p:spPr bwMode="auto">
          <a:xfrm>
            <a:off x="1399547" y="3347882"/>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68" name="iSlíďè"/>
          <p:cNvSpPr txBox="1"/>
          <p:nvPr/>
        </p:nvSpPr>
        <p:spPr bwMode="auto">
          <a:xfrm>
            <a:off x="1399547" y="2917568"/>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69" name="išľíďè"/>
          <p:cNvSpPr/>
          <p:nvPr/>
        </p:nvSpPr>
        <p:spPr bwMode="auto">
          <a:xfrm>
            <a:off x="1399547" y="4835857"/>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70" name="iSlíďè"/>
          <p:cNvSpPr txBox="1"/>
          <p:nvPr/>
        </p:nvSpPr>
        <p:spPr bwMode="auto">
          <a:xfrm>
            <a:off x="1399547" y="4415068"/>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71" name="išľíďè"/>
          <p:cNvSpPr/>
          <p:nvPr/>
        </p:nvSpPr>
        <p:spPr bwMode="auto">
          <a:xfrm>
            <a:off x="8688213" y="2032719"/>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72" name="iSlíďè"/>
          <p:cNvSpPr txBox="1"/>
          <p:nvPr/>
        </p:nvSpPr>
        <p:spPr bwMode="auto">
          <a:xfrm>
            <a:off x="8688213" y="1602405"/>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73" name="išľíďè"/>
          <p:cNvSpPr/>
          <p:nvPr/>
        </p:nvSpPr>
        <p:spPr bwMode="auto">
          <a:xfrm>
            <a:off x="8688213" y="3347882"/>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74" name="iSlíďè"/>
          <p:cNvSpPr txBox="1"/>
          <p:nvPr/>
        </p:nvSpPr>
        <p:spPr bwMode="auto">
          <a:xfrm>
            <a:off x="8688213" y="2917568"/>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75" name="išľíďè"/>
          <p:cNvSpPr/>
          <p:nvPr/>
        </p:nvSpPr>
        <p:spPr bwMode="auto">
          <a:xfrm>
            <a:off x="8688213" y="4835857"/>
            <a:ext cx="2536640"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tx1">
                  <a:lumMod val="85000"/>
                  <a:lumOff val="15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76" name="iSlíďè"/>
          <p:cNvSpPr txBox="1"/>
          <p:nvPr/>
        </p:nvSpPr>
        <p:spPr bwMode="auto">
          <a:xfrm>
            <a:off x="8688213" y="4415068"/>
            <a:ext cx="1438709"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500" advClick="0" advTm="2000">
        <p:random/>
      </p:transition>
    </mc:Choice>
    <mc:Fallback xmlns="">
      <p:transition spd="slow" advClick="0"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1000"/>
                                        <p:tgtEl>
                                          <p:spTgt spid="62"/>
                                        </p:tgtEl>
                                      </p:cBhvr>
                                    </p:animEffect>
                                    <p:anim calcmode="lin" valueType="num">
                                      <p:cBhvr>
                                        <p:cTn id="8" dur="1000" fill="hold"/>
                                        <p:tgtEl>
                                          <p:spTgt spid="62"/>
                                        </p:tgtEl>
                                        <p:attrNameLst>
                                          <p:attrName>ppt_x</p:attrName>
                                        </p:attrNameLst>
                                      </p:cBhvr>
                                      <p:tavLst>
                                        <p:tav tm="0">
                                          <p:val>
                                            <p:strVal val="#ppt_x"/>
                                          </p:val>
                                        </p:tav>
                                        <p:tav tm="100000">
                                          <p:val>
                                            <p:strVal val="#ppt_x"/>
                                          </p:val>
                                        </p:tav>
                                      </p:tavLst>
                                    </p:anim>
                                    <p:anim calcmode="lin" valueType="num">
                                      <p:cBhvr>
                                        <p:cTn id="9"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animEffect transition="in" filter="wipe(down)">
                                      <p:cBhvr>
                                        <p:cTn id="14" dur="500"/>
                                        <p:tgtEl>
                                          <p:spTgt spid="66"/>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65"/>
                                        </p:tgtEl>
                                        <p:attrNameLst>
                                          <p:attrName>style.visibility</p:attrName>
                                        </p:attrNameLst>
                                      </p:cBhvr>
                                      <p:to>
                                        <p:strVal val="visible"/>
                                      </p:to>
                                    </p:set>
                                    <p:animEffect transition="in" filter="wipe(down)">
                                      <p:cBhvr>
                                        <p:cTn id="19" dur="500"/>
                                        <p:tgtEl>
                                          <p:spTgt spid="65"/>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68"/>
                                        </p:tgtEl>
                                        <p:attrNameLst>
                                          <p:attrName>style.visibility</p:attrName>
                                        </p:attrNameLst>
                                      </p:cBhvr>
                                      <p:to>
                                        <p:strVal val="visible"/>
                                      </p:to>
                                    </p:set>
                                    <p:animEffect transition="in" filter="wipe(down)">
                                      <p:cBhvr>
                                        <p:cTn id="24" dur="500"/>
                                        <p:tgtEl>
                                          <p:spTgt spid="68"/>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4" fill="hold" grpId="0" nodeType="clickEffect">
                                  <p:stCondLst>
                                    <p:cond delay="0"/>
                                  </p:stCondLst>
                                  <p:childTnLst>
                                    <p:set>
                                      <p:cBhvr>
                                        <p:cTn id="28" dur="1" fill="hold">
                                          <p:stCondLst>
                                            <p:cond delay="0"/>
                                          </p:stCondLst>
                                        </p:cTn>
                                        <p:tgtEl>
                                          <p:spTgt spid="67"/>
                                        </p:tgtEl>
                                        <p:attrNameLst>
                                          <p:attrName>style.visibility</p:attrName>
                                        </p:attrNameLst>
                                      </p:cBhvr>
                                      <p:to>
                                        <p:strVal val="visible"/>
                                      </p:to>
                                    </p:set>
                                    <p:animEffect transition="in" filter="wipe(down)">
                                      <p:cBhvr>
                                        <p:cTn id="29" dur="500"/>
                                        <p:tgtEl>
                                          <p:spTgt spid="67"/>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70"/>
                                        </p:tgtEl>
                                        <p:attrNameLst>
                                          <p:attrName>style.visibility</p:attrName>
                                        </p:attrNameLst>
                                      </p:cBhvr>
                                      <p:to>
                                        <p:strVal val="visible"/>
                                      </p:to>
                                    </p:set>
                                    <p:animEffect transition="in" filter="wipe(down)">
                                      <p:cBhvr>
                                        <p:cTn id="34" dur="500"/>
                                        <p:tgtEl>
                                          <p:spTgt spid="7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grpId="0" nodeType="clickEffect">
                                  <p:stCondLst>
                                    <p:cond delay="0"/>
                                  </p:stCondLst>
                                  <p:childTnLst>
                                    <p:set>
                                      <p:cBhvr>
                                        <p:cTn id="38" dur="1" fill="hold">
                                          <p:stCondLst>
                                            <p:cond delay="0"/>
                                          </p:stCondLst>
                                        </p:cTn>
                                        <p:tgtEl>
                                          <p:spTgt spid="69"/>
                                        </p:tgtEl>
                                        <p:attrNameLst>
                                          <p:attrName>style.visibility</p:attrName>
                                        </p:attrNameLst>
                                      </p:cBhvr>
                                      <p:to>
                                        <p:strVal val="visible"/>
                                      </p:to>
                                    </p:set>
                                    <p:animEffect transition="in" filter="wipe(down)">
                                      <p:cBhvr>
                                        <p:cTn id="39" dur="500"/>
                                        <p:tgtEl>
                                          <p:spTgt spid="69"/>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grpId="0" nodeType="clickEffect">
                                  <p:stCondLst>
                                    <p:cond delay="0"/>
                                  </p:stCondLst>
                                  <p:childTnLst>
                                    <p:set>
                                      <p:cBhvr>
                                        <p:cTn id="43" dur="1" fill="hold">
                                          <p:stCondLst>
                                            <p:cond delay="0"/>
                                          </p:stCondLst>
                                        </p:cTn>
                                        <p:tgtEl>
                                          <p:spTgt spid="72"/>
                                        </p:tgtEl>
                                        <p:attrNameLst>
                                          <p:attrName>style.visibility</p:attrName>
                                        </p:attrNameLst>
                                      </p:cBhvr>
                                      <p:to>
                                        <p:strVal val="visible"/>
                                      </p:to>
                                    </p:set>
                                    <p:animEffect transition="in" filter="wipe(down)">
                                      <p:cBhvr>
                                        <p:cTn id="44" dur="500"/>
                                        <p:tgtEl>
                                          <p:spTgt spid="72"/>
                                        </p:tgtEl>
                                      </p:cBhvr>
                                    </p:animEffect>
                                  </p:childTnLst>
                                </p:cTn>
                              </p:par>
                            </p:childTnLst>
                          </p:cTn>
                        </p:par>
                      </p:childTnLst>
                    </p:cTn>
                  </p:par>
                  <p:par>
                    <p:cTn id="45" fill="hold">
                      <p:stCondLst>
                        <p:cond delay="indefinite"/>
                      </p:stCondLst>
                      <p:childTnLst>
                        <p:par>
                          <p:cTn id="46" fill="hold">
                            <p:stCondLst>
                              <p:cond delay="0"/>
                            </p:stCondLst>
                            <p:childTnLst>
                              <p:par>
                                <p:cTn id="47" presetID="22" presetClass="entr" presetSubtype="4" fill="hold" grpId="0" nodeType="clickEffect">
                                  <p:stCondLst>
                                    <p:cond delay="0"/>
                                  </p:stCondLst>
                                  <p:childTnLst>
                                    <p:set>
                                      <p:cBhvr>
                                        <p:cTn id="48" dur="1" fill="hold">
                                          <p:stCondLst>
                                            <p:cond delay="0"/>
                                          </p:stCondLst>
                                        </p:cTn>
                                        <p:tgtEl>
                                          <p:spTgt spid="71"/>
                                        </p:tgtEl>
                                        <p:attrNameLst>
                                          <p:attrName>style.visibility</p:attrName>
                                        </p:attrNameLst>
                                      </p:cBhvr>
                                      <p:to>
                                        <p:strVal val="visible"/>
                                      </p:to>
                                    </p:set>
                                    <p:animEffect transition="in" filter="wipe(down)">
                                      <p:cBhvr>
                                        <p:cTn id="49" dur="500"/>
                                        <p:tgtEl>
                                          <p:spTgt spid="71"/>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4" fill="hold" grpId="0" nodeType="clickEffect">
                                  <p:stCondLst>
                                    <p:cond delay="0"/>
                                  </p:stCondLst>
                                  <p:childTnLst>
                                    <p:set>
                                      <p:cBhvr>
                                        <p:cTn id="53" dur="1" fill="hold">
                                          <p:stCondLst>
                                            <p:cond delay="0"/>
                                          </p:stCondLst>
                                        </p:cTn>
                                        <p:tgtEl>
                                          <p:spTgt spid="74"/>
                                        </p:tgtEl>
                                        <p:attrNameLst>
                                          <p:attrName>style.visibility</p:attrName>
                                        </p:attrNameLst>
                                      </p:cBhvr>
                                      <p:to>
                                        <p:strVal val="visible"/>
                                      </p:to>
                                    </p:set>
                                    <p:animEffect transition="in" filter="wipe(down)">
                                      <p:cBhvr>
                                        <p:cTn id="54" dur="500"/>
                                        <p:tgtEl>
                                          <p:spTgt spid="74"/>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4" fill="hold" grpId="0" nodeType="clickEffect">
                                  <p:stCondLst>
                                    <p:cond delay="0"/>
                                  </p:stCondLst>
                                  <p:childTnLst>
                                    <p:set>
                                      <p:cBhvr>
                                        <p:cTn id="58" dur="1" fill="hold">
                                          <p:stCondLst>
                                            <p:cond delay="0"/>
                                          </p:stCondLst>
                                        </p:cTn>
                                        <p:tgtEl>
                                          <p:spTgt spid="73"/>
                                        </p:tgtEl>
                                        <p:attrNameLst>
                                          <p:attrName>style.visibility</p:attrName>
                                        </p:attrNameLst>
                                      </p:cBhvr>
                                      <p:to>
                                        <p:strVal val="visible"/>
                                      </p:to>
                                    </p:set>
                                    <p:animEffect transition="in" filter="wipe(down)">
                                      <p:cBhvr>
                                        <p:cTn id="59" dur="500"/>
                                        <p:tgtEl>
                                          <p:spTgt spid="73"/>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76"/>
                                        </p:tgtEl>
                                        <p:attrNameLst>
                                          <p:attrName>style.visibility</p:attrName>
                                        </p:attrNameLst>
                                      </p:cBhvr>
                                      <p:to>
                                        <p:strVal val="visible"/>
                                      </p:to>
                                    </p:set>
                                    <p:animEffect transition="in" filter="wipe(down)">
                                      <p:cBhvr>
                                        <p:cTn id="64" dur="500"/>
                                        <p:tgtEl>
                                          <p:spTgt spid="76"/>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grpId="0" nodeType="clickEffect">
                                  <p:stCondLst>
                                    <p:cond delay="0"/>
                                  </p:stCondLst>
                                  <p:childTnLst>
                                    <p:set>
                                      <p:cBhvr>
                                        <p:cTn id="68" dur="1" fill="hold">
                                          <p:stCondLst>
                                            <p:cond delay="0"/>
                                          </p:stCondLst>
                                        </p:cTn>
                                        <p:tgtEl>
                                          <p:spTgt spid="75"/>
                                        </p:tgtEl>
                                        <p:attrNameLst>
                                          <p:attrName>style.visibility</p:attrName>
                                        </p:attrNameLst>
                                      </p:cBhvr>
                                      <p:to>
                                        <p:strVal val="visible"/>
                                      </p:to>
                                    </p:set>
                                    <p:animEffect transition="in" filter="wipe(down)">
                                      <p:cBhvr>
                                        <p:cTn id="69"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67" grpId="0"/>
      <p:bldP spid="68" grpId="0"/>
      <p:bldP spid="69" grpId="0"/>
      <p:bldP spid="70" grpId="0"/>
      <p:bldP spid="71" grpId="0"/>
      <p:bldP spid="72" grpId="0"/>
      <p:bldP spid="73" grpId="0"/>
      <p:bldP spid="74" grpId="0"/>
      <p:bldP spid="75" grpId="0"/>
      <p:bldP spid="7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534431" y="1795846"/>
            <a:ext cx="9116934" cy="248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75">
              <a:latin typeface="思源黑体 CN Regular" panose="020B0500000000000000" charset="-122"/>
              <a:ea typeface="思源黑体 CN Regular" panose="020B0500000000000000" charset="-122"/>
              <a:sym typeface="Source Han Sans HW SC" panose="020F0502020204030204"/>
            </a:endParaRPr>
          </a:p>
        </p:txBody>
      </p:sp>
      <p:sp>
        <p:nvSpPr>
          <p:cNvPr id="6" name="矩形 5"/>
          <p:cNvSpPr/>
          <p:nvPr/>
        </p:nvSpPr>
        <p:spPr>
          <a:xfrm>
            <a:off x="1534432" y="1795846"/>
            <a:ext cx="5386195" cy="2483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105" tIns="45053" rIns="90105" bIns="45053" numCol="1" spcCol="0" rtlCol="0" fromWordArt="0" anchor="ctr" anchorCtr="0" forceAA="0" compatLnSpc="1">
            <a:noAutofit/>
          </a:bodyPr>
          <a:lstStyle/>
          <a:p>
            <a:pPr algn="ctr"/>
            <a:endParaRPr lang="zh-CN" altLang="en-US" sz="1775" dirty="0">
              <a:latin typeface="思源黑体 CN Regular" panose="020B0500000000000000" charset="-122"/>
              <a:ea typeface="思源黑体 CN Regular" panose="020B0500000000000000" charset="-122"/>
              <a:sym typeface="Source Han Sans HW SC" panose="020F0502020204030204"/>
            </a:endParaRPr>
          </a:p>
        </p:txBody>
      </p:sp>
      <p:sp>
        <p:nvSpPr>
          <p:cNvPr id="7" name="矩形 6"/>
          <p:cNvSpPr/>
          <p:nvPr/>
        </p:nvSpPr>
        <p:spPr>
          <a:xfrm>
            <a:off x="1534431" y="2363174"/>
            <a:ext cx="9116934" cy="248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75">
              <a:latin typeface="思源黑体 CN Regular" panose="020B0500000000000000" charset="-122"/>
              <a:ea typeface="思源黑体 CN Regular" panose="020B0500000000000000" charset="-122"/>
              <a:sym typeface="Source Han Sans HW SC" panose="020F0502020204030204"/>
            </a:endParaRPr>
          </a:p>
        </p:txBody>
      </p:sp>
      <p:sp>
        <p:nvSpPr>
          <p:cNvPr id="8" name="矩形 7"/>
          <p:cNvSpPr/>
          <p:nvPr/>
        </p:nvSpPr>
        <p:spPr>
          <a:xfrm>
            <a:off x="1534431" y="2363174"/>
            <a:ext cx="7147226" cy="2483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105" tIns="45053" rIns="90105" bIns="45053" numCol="1" spcCol="0" rtlCol="0" fromWordArt="0" anchor="ctr" anchorCtr="0" forceAA="0" compatLnSpc="1">
            <a:noAutofit/>
          </a:bodyPr>
          <a:lstStyle/>
          <a:p>
            <a:pPr algn="ctr"/>
            <a:endParaRPr lang="zh-CN" altLang="en-US" sz="1775" dirty="0">
              <a:latin typeface="思源黑体 CN Regular" panose="020B0500000000000000" charset="-122"/>
              <a:ea typeface="思源黑体 CN Regular" panose="020B0500000000000000" charset="-122"/>
              <a:sym typeface="Source Han Sans HW SC" panose="020F0502020204030204"/>
            </a:endParaRPr>
          </a:p>
        </p:txBody>
      </p:sp>
      <p:sp>
        <p:nvSpPr>
          <p:cNvPr id="9" name="矩形 8"/>
          <p:cNvSpPr/>
          <p:nvPr/>
        </p:nvSpPr>
        <p:spPr>
          <a:xfrm>
            <a:off x="1534431" y="2930503"/>
            <a:ext cx="9116934" cy="248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75">
              <a:latin typeface="思源黑体 CN Regular" panose="020B0500000000000000" charset="-122"/>
              <a:ea typeface="思源黑体 CN Regular" panose="020B0500000000000000" charset="-122"/>
              <a:sym typeface="Source Han Sans HW SC" panose="020F0502020204030204"/>
            </a:endParaRPr>
          </a:p>
        </p:txBody>
      </p:sp>
      <p:sp>
        <p:nvSpPr>
          <p:cNvPr id="10" name="矩形 9"/>
          <p:cNvSpPr/>
          <p:nvPr/>
        </p:nvSpPr>
        <p:spPr>
          <a:xfrm>
            <a:off x="1534431" y="2930503"/>
            <a:ext cx="6213498" cy="2483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105" tIns="45053" rIns="90105" bIns="45053" numCol="1" spcCol="0" rtlCol="0" fromWordArt="0" anchor="ctr" anchorCtr="0" forceAA="0" compatLnSpc="1">
            <a:noAutofit/>
          </a:bodyPr>
          <a:lstStyle/>
          <a:p>
            <a:pPr algn="ctr"/>
            <a:endParaRPr lang="zh-CN" altLang="en-US" sz="1775">
              <a:latin typeface="思源黑体 CN Regular" panose="020B0500000000000000" charset="-122"/>
              <a:ea typeface="思源黑体 CN Regular" panose="020B0500000000000000" charset="-122"/>
              <a:sym typeface="Source Han Sans HW SC" panose="020F0502020204030204"/>
            </a:endParaRPr>
          </a:p>
        </p:txBody>
      </p:sp>
      <p:sp>
        <p:nvSpPr>
          <p:cNvPr id="11" name="矩形 10"/>
          <p:cNvSpPr/>
          <p:nvPr/>
        </p:nvSpPr>
        <p:spPr>
          <a:xfrm>
            <a:off x="1534431" y="3497831"/>
            <a:ext cx="9116934" cy="2483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75">
              <a:latin typeface="思源黑体 CN Regular" panose="020B0500000000000000" charset="-122"/>
              <a:ea typeface="思源黑体 CN Regular" panose="020B0500000000000000" charset="-122"/>
              <a:sym typeface="Source Han Sans HW SC" panose="020F0502020204030204"/>
            </a:endParaRPr>
          </a:p>
        </p:txBody>
      </p:sp>
      <p:sp>
        <p:nvSpPr>
          <p:cNvPr id="12" name="矩形 11"/>
          <p:cNvSpPr/>
          <p:nvPr/>
        </p:nvSpPr>
        <p:spPr>
          <a:xfrm>
            <a:off x="1534431" y="3497831"/>
            <a:ext cx="8062530" cy="2483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105" tIns="45053" rIns="90105" bIns="45053" numCol="1" spcCol="0" rtlCol="0" fromWordArt="0" anchor="ctr" anchorCtr="0" forceAA="0" compatLnSpc="1">
            <a:noAutofit/>
          </a:bodyPr>
          <a:lstStyle/>
          <a:p>
            <a:pPr algn="ctr"/>
            <a:endParaRPr lang="zh-CN" altLang="en-US" sz="1775" dirty="0">
              <a:latin typeface="思源黑体 CN Regular" panose="020B0500000000000000" charset="-122"/>
              <a:ea typeface="思源黑体 CN Regular" panose="020B0500000000000000" charset="-122"/>
              <a:sym typeface="Source Han Sans HW SC" panose="020F0502020204030204"/>
            </a:endParaRPr>
          </a:p>
        </p:txBody>
      </p:sp>
      <p:sp>
        <p:nvSpPr>
          <p:cNvPr id="13" name="TextBox 11"/>
          <p:cNvSpPr txBox="1"/>
          <p:nvPr/>
        </p:nvSpPr>
        <p:spPr>
          <a:xfrm>
            <a:off x="1519825" y="1542540"/>
            <a:ext cx="1548682" cy="212366"/>
          </a:xfrm>
          <a:prstGeom prst="rect">
            <a:avLst/>
          </a:prstGeom>
          <a:noFill/>
        </p:spPr>
        <p:txBody>
          <a:bodyPr wrap="square" lIns="0" tIns="0" rIns="0" bIns="0" rtlCol="0">
            <a:spAutoFit/>
            <a:scene3d>
              <a:camera prst="orthographicFront"/>
              <a:lightRig rig="threePt" dir="t"/>
            </a:scene3d>
            <a:sp3d contourW="12700"/>
          </a:bodyPr>
          <a:lstStyle/>
          <a:p>
            <a:pPr marL="281305" indent="-281305">
              <a:buFont typeface="Wingdings" panose="05000000000000000000" pitchFamily="2" charset="2"/>
              <a:buChar char="l"/>
            </a:pPr>
            <a:r>
              <a:rPr lang="zh-CN" altLang="en-US" sz="1380" dirty="0">
                <a:solidFill>
                  <a:schemeClr val="tx1">
                    <a:lumMod val="75000"/>
                    <a:lumOff val="25000"/>
                  </a:schemeClr>
                </a:solidFill>
                <a:latin typeface="思源黑体 CN Regular" panose="020B0500000000000000" charset="-122"/>
                <a:ea typeface="思源黑体 CN Regular" panose="020B0500000000000000" charset="-122"/>
                <a:sym typeface="Source Han Sans HW SC" panose="020F0502020204030204"/>
              </a:rPr>
              <a:t>文字添加</a:t>
            </a:r>
          </a:p>
        </p:txBody>
      </p:sp>
      <p:sp>
        <p:nvSpPr>
          <p:cNvPr id="14" name="TextBox 11"/>
          <p:cNvSpPr txBox="1"/>
          <p:nvPr/>
        </p:nvSpPr>
        <p:spPr>
          <a:xfrm>
            <a:off x="1519825" y="2107737"/>
            <a:ext cx="1548682" cy="212366"/>
          </a:xfrm>
          <a:prstGeom prst="rect">
            <a:avLst/>
          </a:prstGeom>
          <a:noFill/>
        </p:spPr>
        <p:txBody>
          <a:bodyPr wrap="square" lIns="0" tIns="0" rIns="0" bIns="0" rtlCol="0">
            <a:spAutoFit/>
            <a:scene3d>
              <a:camera prst="orthographicFront"/>
              <a:lightRig rig="threePt" dir="t"/>
            </a:scene3d>
            <a:sp3d contourW="12700"/>
          </a:bodyPr>
          <a:lstStyle/>
          <a:p>
            <a:pPr marL="281305" indent="-281305">
              <a:buFont typeface="Wingdings" panose="05000000000000000000" pitchFamily="2" charset="2"/>
              <a:buChar char="l"/>
            </a:pPr>
            <a:r>
              <a:rPr lang="zh-CN" altLang="en-US" sz="1380" dirty="0">
                <a:solidFill>
                  <a:schemeClr val="tx1">
                    <a:lumMod val="75000"/>
                    <a:lumOff val="25000"/>
                  </a:schemeClr>
                </a:solidFill>
                <a:latin typeface="思源黑体 CN Regular" panose="020B0500000000000000" charset="-122"/>
                <a:ea typeface="思源黑体 CN Regular" panose="020B0500000000000000" charset="-122"/>
                <a:sym typeface="Source Han Sans HW SC" panose="020F0502020204030204"/>
              </a:rPr>
              <a:t>文字添加</a:t>
            </a:r>
          </a:p>
        </p:txBody>
      </p:sp>
      <p:sp>
        <p:nvSpPr>
          <p:cNvPr id="15" name="TextBox 11"/>
          <p:cNvSpPr txBox="1"/>
          <p:nvPr/>
        </p:nvSpPr>
        <p:spPr>
          <a:xfrm>
            <a:off x="1519825" y="2678756"/>
            <a:ext cx="1548682" cy="212366"/>
          </a:xfrm>
          <a:prstGeom prst="rect">
            <a:avLst/>
          </a:prstGeom>
          <a:noFill/>
        </p:spPr>
        <p:txBody>
          <a:bodyPr wrap="square" lIns="0" tIns="0" rIns="0" bIns="0" rtlCol="0">
            <a:spAutoFit/>
            <a:scene3d>
              <a:camera prst="orthographicFront"/>
              <a:lightRig rig="threePt" dir="t"/>
            </a:scene3d>
            <a:sp3d contourW="12700"/>
          </a:bodyPr>
          <a:lstStyle/>
          <a:p>
            <a:pPr marL="281305" indent="-281305">
              <a:buFont typeface="Wingdings" panose="05000000000000000000" pitchFamily="2" charset="2"/>
              <a:buChar char="l"/>
            </a:pPr>
            <a:r>
              <a:rPr lang="zh-CN" altLang="en-US" sz="1380" dirty="0">
                <a:solidFill>
                  <a:schemeClr val="tx1">
                    <a:lumMod val="75000"/>
                    <a:lumOff val="25000"/>
                  </a:schemeClr>
                </a:solidFill>
                <a:latin typeface="思源黑体 CN Regular" panose="020B0500000000000000" charset="-122"/>
                <a:ea typeface="思源黑体 CN Regular" panose="020B0500000000000000" charset="-122"/>
                <a:sym typeface="Source Han Sans HW SC" panose="020F0502020204030204"/>
              </a:rPr>
              <a:t>文字添加</a:t>
            </a:r>
          </a:p>
        </p:txBody>
      </p:sp>
      <p:sp>
        <p:nvSpPr>
          <p:cNvPr id="16" name="TextBox 11"/>
          <p:cNvSpPr txBox="1"/>
          <p:nvPr/>
        </p:nvSpPr>
        <p:spPr>
          <a:xfrm>
            <a:off x="1534430" y="3251927"/>
            <a:ext cx="1548682" cy="212366"/>
          </a:xfrm>
          <a:prstGeom prst="rect">
            <a:avLst/>
          </a:prstGeom>
          <a:noFill/>
        </p:spPr>
        <p:txBody>
          <a:bodyPr wrap="square" lIns="0" tIns="0" rIns="0" bIns="0" rtlCol="0">
            <a:spAutoFit/>
            <a:scene3d>
              <a:camera prst="orthographicFront"/>
              <a:lightRig rig="threePt" dir="t"/>
            </a:scene3d>
            <a:sp3d contourW="12700"/>
          </a:bodyPr>
          <a:lstStyle/>
          <a:p>
            <a:pPr marL="281305" indent="-281305">
              <a:buFont typeface="Wingdings" panose="05000000000000000000" pitchFamily="2" charset="2"/>
              <a:buChar char="l"/>
            </a:pPr>
            <a:r>
              <a:rPr lang="zh-CN" altLang="en-US" sz="1380" dirty="0">
                <a:solidFill>
                  <a:schemeClr val="tx1">
                    <a:lumMod val="75000"/>
                    <a:lumOff val="25000"/>
                  </a:schemeClr>
                </a:solidFill>
                <a:latin typeface="思源黑体 CN Regular" panose="020B0500000000000000" charset="-122"/>
                <a:ea typeface="思源黑体 CN Regular" panose="020B0500000000000000" charset="-122"/>
                <a:sym typeface="Source Han Sans HW SC" panose="020F0502020204030204"/>
              </a:rPr>
              <a:t>文字添加</a:t>
            </a:r>
          </a:p>
        </p:txBody>
      </p:sp>
      <p:sp>
        <p:nvSpPr>
          <p:cNvPr id="17" name="文本框 16"/>
          <p:cNvSpPr txBox="1"/>
          <p:nvPr/>
        </p:nvSpPr>
        <p:spPr>
          <a:xfrm>
            <a:off x="1290614" y="4819285"/>
            <a:ext cx="2580233" cy="594995"/>
          </a:xfrm>
          <a:prstGeom prst="rect">
            <a:avLst/>
          </a:prstGeom>
          <a:noFill/>
        </p:spPr>
        <p:txBody>
          <a:bodyPr wrap="square" rtlCol="0">
            <a:spAutoFit/>
          </a:bodyPr>
          <a:lstStyle/>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p>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endParaRPr lang="en-US" altLang="zh-CN" sz="1315"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18" name="Rectangle 24"/>
          <p:cNvSpPr>
            <a:spLocks noChangeArrowheads="1"/>
          </p:cNvSpPr>
          <p:nvPr/>
        </p:nvSpPr>
        <p:spPr bwMode="auto">
          <a:xfrm>
            <a:off x="1632031" y="4324663"/>
            <a:ext cx="1647928" cy="36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0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19" name="文本框 18"/>
          <p:cNvSpPr txBox="1"/>
          <p:nvPr/>
        </p:nvSpPr>
        <p:spPr>
          <a:xfrm>
            <a:off x="3575402" y="4819791"/>
            <a:ext cx="2580233" cy="594995"/>
          </a:xfrm>
          <a:prstGeom prst="rect">
            <a:avLst/>
          </a:prstGeom>
          <a:noFill/>
        </p:spPr>
        <p:txBody>
          <a:bodyPr wrap="square" rtlCol="0">
            <a:spAutoFit/>
          </a:bodyPr>
          <a:lstStyle/>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p>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endParaRPr lang="en-US" altLang="zh-CN" sz="1315"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0" name="Rectangle 24"/>
          <p:cNvSpPr>
            <a:spLocks noChangeArrowheads="1"/>
          </p:cNvSpPr>
          <p:nvPr/>
        </p:nvSpPr>
        <p:spPr bwMode="auto">
          <a:xfrm>
            <a:off x="3916820" y="4325169"/>
            <a:ext cx="1647928" cy="36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0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21" name="文本框 20"/>
          <p:cNvSpPr txBox="1"/>
          <p:nvPr/>
        </p:nvSpPr>
        <p:spPr>
          <a:xfrm>
            <a:off x="5940977" y="4819791"/>
            <a:ext cx="2580233" cy="594995"/>
          </a:xfrm>
          <a:prstGeom prst="rect">
            <a:avLst/>
          </a:prstGeom>
          <a:noFill/>
        </p:spPr>
        <p:txBody>
          <a:bodyPr wrap="square" rtlCol="0">
            <a:spAutoFit/>
          </a:bodyPr>
          <a:lstStyle/>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p>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endParaRPr lang="en-US" altLang="zh-CN" sz="1315"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2" name="Rectangle 24"/>
          <p:cNvSpPr>
            <a:spLocks noChangeArrowheads="1"/>
          </p:cNvSpPr>
          <p:nvPr/>
        </p:nvSpPr>
        <p:spPr bwMode="auto">
          <a:xfrm>
            <a:off x="6282394" y="4325169"/>
            <a:ext cx="1647928" cy="36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0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
        <p:nvSpPr>
          <p:cNvPr id="23" name="文本框 22"/>
          <p:cNvSpPr txBox="1"/>
          <p:nvPr/>
        </p:nvSpPr>
        <p:spPr>
          <a:xfrm>
            <a:off x="8468316" y="4819791"/>
            <a:ext cx="2580233" cy="594995"/>
          </a:xfrm>
          <a:prstGeom prst="rect">
            <a:avLst/>
          </a:prstGeom>
          <a:noFill/>
        </p:spPr>
        <p:txBody>
          <a:bodyPr wrap="square" rtlCol="0">
            <a:spAutoFit/>
          </a:bodyPr>
          <a:lstStyle/>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p>
          <a:p>
            <a:pPr algn="ctr">
              <a:spcBef>
                <a:spcPts val="790"/>
              </a:spcBef>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a:t>
            </a:r>
            <a:endParaRPr lang="en-US" altLang="zh-CN" sz="1315"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24" name="Rectangle 24"/>
          <p:cNvSpPr>
            <a:spLocks noChangeArrowheads="1"/>
          </p:cNvSpPr>
          <p:nvPr/>
        </p:nvSpPr>
        <p:spPr bwMode="auto">
          <a:xfrm>
            <a:off x="8934468" y="4325169"/>
            <a:ext cx="1647928" cy="368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a:lnSpc>
                <a:spcPct val="120000"/>
              </a:lnSpc>
              <a:spcBef>
                <a:spcPts val="395"/>
              </a:spcBef>
            </a:pPr>
            <a:r>
              <a:rPr lang="zh-CN" altLang="en-US" sz="2000" dirty="0">
                <a:solidFill>
                  <a:schemeClr val="bg2">
                    <a:lumMod val="25000"/>
                  </a:schemeClr>
                </a:solidFill>
                <a:latin typeface="锐字真言体免费商用" panose="02010600030101010101" charset="-122"/>
                <a:ea typeface="锐字真言体免费商用" panose="02010600030101010101" charset="-122"/>
                <a:sym typeface="Source Han Sans HW SC" panose="020F0502020204030204"/>
              </a:rPr>
              <a:t>单击填加标题</a:t>
            </a:r>
          </a:p>
        </p:txBody>
      </p:sp>
    </p:spTree>
  </p:cSld>
  <p:clrMapOvr>
    <a:masterClrMapping/>
  </p:clrMapOvr>
  <mc:AlternateContent xmlns:mc="http://schemas.openxmlformats.org/markup-compatibility/2006" xmlns:p14="http://schemas.microsoft.com/office/powerpoint/2010/main">
    <mc:Choice Requires="p14">
      <p:transition spd="slow" p14:dur="1600" advClick="0" advTm="2000">
        <p14:prism isInverted="1"/>
      </p:transition>
    </mc:Choice>
    <mc:Fallback xmlns="">
      <p:transition spd="slow" advClick="0" advTm="2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down)">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down)">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down)">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down)">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wipe(down)">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wipe(down)">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wipe(left)">
                                      <p:cBhvr>
                                        <p:cTn id="47" dur="500"/>
                                        <p:tgtEl>
                                          <p:spTgt spid="6"/>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8"/>
                                        </p:tgtEl>
                                        <p:attrNameLst>
                                          <p:attrName>style.visibility</p:attrName>
                                        </p:attrNameLst>
                                      </p:cBhvr>
                                      <p:to>
                                        <p:strVal val="visible"/>
                                      </p:to>
                                    </p:set>
                                    <p:animEffect transition="in" filter="wipe(left)">
                                      <p:cBhvr>
                                        <p:cTn id="52" dur="500"/>
                                        <p:tgtEl>
                                          <p:spTgt spid="8"/>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10"/>
                                        </p:tgtEl>
                                        <p:attrNameLst>
                                          <p:attrName>style.visibility</p:attrName>
                                        </p:attrNameLst>
                                      </p:cBhvr>
                                      <p:to>
                                        <p:strVal val="visible"/>
                                      </p:to>
                                    </p:set>
                                    <p:animEffect transition="in" filter="wipe(left)">
                                      <p:cBhvr>
                                        <p:cTn id="57" dur="500"/>
                                        <p:tgtEl>
                                          <p:spTgt spid="10"/>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8" fill="hold" grpId="0" nodeType="click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wipe(left)">
                                      <p:cBhvr>
                                        <p:cTn id="6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8" grpId="0" bldLvl="0" animBg="1"/>
      <p:bldP spid="10" grpId="0" bldLvl="0" animBg="1"/>
      <p:bldP spid="12" grpId="0" bldLvl="0" animBg="1"/>
      <p:bldP spid="17" grpId="0"/>
      <p:bldP spid="18" grpId="0"/>
      <p:bldP spid="19" grpId="0"/>
      <p:bldP spid="20" grpId="0"/>
      <p:bldP spid="21" grpId="0"/>
      <p:bldP spid="22" grpId="0"/>
      <p:bldP spid="23" grpId="0"/>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pic>
        <p:nvPicPr>
          <p:cNvPr id="8" name="图片 7" descr="未标题-1"/>
          <p:cNvPicPr>
            <a:picLocks noChangeAspect="1"/>
          </p:cNvPicPr>
          <p:nvPr/>
        </p:nvPicPr>
        <p:blipFill>
          <a:blip r:embed="rId4"/>
          <a:stretch>
            <a:fillRect/>
          </a:stretch>
        </p:blipFill>
        <p:spPr>
          <a:xfrm>
            <a:off x="-12065" y="635"/>
            <a:ext cx="12216765" cy="6857365"/>
          </a:xfrm>
          <a:prstGeom prst="rect">
            <a:avLst/>
          </a:prstGeom>
        </p:spPr>
      </p:pic>
      <p:sp>
        <p:nvSpPr>
          <p:cNvPr id="7" name="文本框 6"/>
          <p:cNvSpPr txBox="1"/>
          <p:nvPr/>
        </p:nvSpPr>
        <p:spPr>
          <a:xfrm>
            <a:off x="3011488" y="2226945"/>
            <a:ext cx="5905500" cy="1420495"/>
          </a:xfrm>
          <a:prstGeom prst="rect">
            <a:avLst/>
          </a:prstGeom>
          <a:noFill/>
        </p:spPr>
        <p:txBody>
          <a:bodyPr wrap="none" rtlCol="0" anchor="t">
            <a:spAutoFit/>
          </a:bodyPr>
          <a:lstStyle/>
          <a:p>
            <a:pPr algn="ctr">
              <a:lnSpc>
                <a:spcPct val="120000"/>
              </a:lnSpc>
              <a:defRPr/>
            </a:pPr>
            <a:r>
              <a:rPr lang="zh-CN" altLang="en-US" sz="7200" b="1" spc="300">
                <a:solidFill>
                  <a:schemeClr val="bg1"/>
                </a:solidFill>
                <a:latin typeface="思源黑体 CN Regular" panose="020B0500000000000000" charset="-122"/>
                <a:ea typeface="思源黑体 CN Regular" panose="020B0500000000000000" charset="-122"/>
                <a:cs typeface="+mn-ea"/>
                <a:sym typeface="Century Gothic" panose="020B0502020202020204" pitchFamily="34" charset="0"/>
              </a:rPr>
              <a:t>总体工作概述</a:t>
            </a:r>
          </a:p>
        </p:txBody>
      </p:sp>
      <p:sp>
        <p:nvSpPr>
          <p:cNvPr id="3" name="泪滴形 2"/>
          <p:cNvSpPr/>
          <p:nvPr/>
        </p:nvSpPr>
        <p:spPr>
          <a:xfrm>
            <a:off x="2028825" y="2595245"/>
            <a:ext cx="885825" cy="885825"/>
          </a:xfrm>
          <a:prstGeom prst="teardrop">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a:solidFill>
                  <a:schemeClr val="accent1"/>
                </a:solidFill>
                <a:latin typeface="锐字真言体免费商用" panose="02010600030101010101" charset="-122"/>
                <a:ea typeface="锐字真言体免费商用" panose="02010600030101010101" charset="-122"/>
              </a:rPr>
              <a:t>2</a:t>
            </a:r>
          </a:p>
        </p:txBody>
      </p:sp>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ntr" presetSubtype="16" fill="hold" grpId="0" nodeType="withEffect">
                                  <p:stCondLst>
                                    <p:cond delay="0"/>
                                  </p:stCondLst>
                                  <p:childTnLst>
                                    <p:set>
                                      <p:cBhvr>
                                        <p:cTn id="6" dur="1000" fill="hold">
                                          <p:stCondLst>
                                            <p:cond delay="0"/>
                                          </p:stCondLst>
                                        </p:cTn>
                                        <p:tgtEl>
                                          <p:spTgt spid="3"/>
                                        </p:tgtEl>
                                        <p:attrNameLst>
                                          <p:attrName>style.visibility</p:attrName>
                                        </p:attrNameLst>
                                      </p:cBhvr>
                                      <p:to>
                                        <p:strVal val="visible"/>
                                      </p:to>
                                    </p:set>
                                    <p:animEffect transition="in" filter="diamond(in)">
                                      <p:cBhvr>
                                        <p:cTn id="7" dur="1000"/>
                                        <p:tgtEl>
                                          <p:spTgt spid="3"/>
                                        </p:tgtEl>
                                      </p:cBhvr>
                                    </p:animEffect>
                                  </p:childTnLst>
                                </p:cTn>
                              </p:par>
                            </p:childTnLst>
                          </p:cTn>
                        </p:par>
                        <p:par>
                          <p:cTn id="8" fill="hold">
                            <p:stCondLst>
                              <p:cond delay="1000"/>
                            </p:stCondLst>
                            <p:childTnLst>
                              <p:par>
                                <p:cTn id="9" presetID="5" presetClass="entr" presetSubtype="1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heckerboard(across)">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Shape 5166"/>
          <p:cNvSpPr/>
          <p:nvPr/>
        </p:nvSpPr>
        <p:spPr>
          <a:xfrm>
            <a:off x="2827254" y="1946059"/>
            <a:ext cx="1410247" cy="1249379"/>
          </a:xfrm>
          <a:custGeom>
            <a:avLst/>
            <a:gdLst/>
            <a:ahLst/>
            <a:cxnLst>
              <a:cxn ang="0">
                <a:pos x="wd2" y="hd2"/>
              </a:cxn>
              <a:cxn ang="5400000">
                <a:pos x="wd2" y="hd2"/>
              </a:cxn>
              <a:cxn ang="10800000">
                <a:pos x="wd2" y="hd2"/>
              </a:cxn>
              <a:cxn ang="16200000">
                <a:pos x="wd2" y="hd2"/>
              </a:cxn>
            </a:cxnLst>
            <a:rect l="0" t="0" r="r" b="b"/>
            <a:pathLst>
              <a:path w="21600" h="21600" extrusionOk="0">
                <a:moveTo>
                  <a:pt x="17131" y="0"/>
                </a:moveTo>
                <a:lnTo>
                  <a:pt x="4125" y="12945"/>
                </a:lnTo>
                <a:lnTo>
                  <a:pt x="0" y="21600"/>
                </a:lnTo>
                <a:lnTo>
                  <a:pt x="21600" y="7769"/>
                </a:lnTo>
                <a:lnTo>
                  <a:pt x="17131" y="0"/>
                </a:lnTo>
                <a:close/>
              </a:path>
            </a:pathLst>
          </a:custGeom>
          <a:solidFill>
            <a:schemeClr val="accent1">
              <a:lumMod val="50000"/>
            </a:schemeClr>
          </a:solidFill>
          <a:ln w="12700" cap="flat">
            <a:noFill/>
            <a:miter lim="400000"/>
          </a:ln>
          <a:effectLst/>
        </p:spPr>
        <p:txBody>
          <a:bodyPr wrap="square" lIns="44112" tIns="44112" rIns="44112" bIns="44112" numCol="1" anchor="ctr">
            <a:noAutofit/>
          </a:bodyPr>
          <a:lstStyle/>
          <a:p>
            <a:pPr algn="ctr">
              <a:lnSpc>
                <a:spcPct val="120000"/>
              </a:lnSpc>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US" sz="1330" dirty="0">
              <a:solidFill>
                <a:schemeClr val="bg1"/>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29" name="Shape 5167"/>
          <p:cNvSpPr/>
          <p:nvPr/>
        </p:nvSpPr>
        <p:spPr>
          <a:xfrm>
            <a:off x="2399580" y="2686772"/>
            <a:ext cx="2270916" cy="1300673"/>
          </a:xfrm>
          <a:custGeom>
            <a:avLst/>
            <a:gdLst/>
            <a:ahLst/>
            <a:cxnLst>
              <a:cxn ang="0">
                <a:pos x="wd2" y="hd2"/>
              </a:cxn>
              <a:cxn ang="5400000">
                <a:pos x="wd2" y="hd2"/>
              </a:cxn>
              <a:cxn ang="10800000">
                <a:pos x="wd2" y="hd2"/>
              </a:cxn>
              <a:cxn ang="16200000">
                <a:pos x="wd2" y="hd2"/>
              </a:cxn>
            </a:cxnLst>
            <a:rect l="0" t="0" r="r" b="b"/>
            <a:pathLst>
              <a:path w="21600" h="21600" extrusionOk="0">
                <a:moveTo>
                  <a:pt x="19039" y="0"/>
                </a:moveTo>
                <a:lnTo>
                  <a:pt x="2561" y="13286"/>
                </a:lnTo>
                <a:lnTo>
                  <a:pt x="0" y="21600"/>
                </a:lnTo>
                <a:lnTo>
                  <a:pt x="21600" y="8314"/>
                </a:lnTo>
                <a:cubicBezTo>
                  <a:pt x="21600" y="8314"/>
                  <a:pt x="19039" y="0"/>
                  <a:pt x="19039" y="0"/>
                </a:cubicBezTo>
                <a:close/>
              </a:path>
            </a:pathLst>
          </a:custGeom>
          <a:solidFill>
            <a:schemeClr val="accent2">
              <a:lumMod val="50000"/>
            </a:schemeClr>
          </a:solidFill>
          <a:ln w="12700" cap="flat">
            <a:noFill/>
            <a:miter lim="400000"/>
          </a:ln>
          <a:effectLst/>
        </p:spPr>
        <p:txBody>
          <a:bodyPr wrap="square" lIns="44112" tIns="44112" rIns="44112" bIns="44112" numCol="1" anchor="ctr">
            <a:noAutofit/>
          </a:bodyPr>
          <a:lstStyle/>
          <a:p>
            <a:pPr algn="ctr">
              <a:lnSpc>
                <a:spcPct val="120000"/>
              </a:lnSpc>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US" sz="1330" dirty="0">
              <a:solidFill>
                <a:schemeClr val="bg1"/>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30" name="Shape 5168"/>
          <p:cNvSpPr/>
          <p:nvPr/>
        </p:nvSpPr>
        <p:spPr>
          <a:xfrm>
            <a:off x="1971907" y="3489926"/>
            <a:ext cx="3131587" cy="1300668"/>
          </a:xfrm>
          <a:custGeom>
            <a:avLst/>
            <a:gdLst/>
            <a:ahLst/>
            <a:cxnLst>
              <a:cxn ang="0">
                <a:pos x="wd2" y="hd2"/>
              </a:cxn>
              <a:cxn ang="5400000">
                <a:pos x="wd2" y="hd2"/>
              </a:cxn>
              <a:cxn ang="10800000">
                <a:pos x="wd2" y="hd2"/>
              </a:cxn>
              <a:cxn ang="16200000">
                <a:pos x="wd2" y="hd2"/>
              </a:cxn>
            </a:cxnLst>
            <a:rect l="0" t="0" r="r" b="b"/>
            <a:pathLst>
              <a:path w="21600" h="21600" extrusionOk="0">
                <a:moveTo>
                  <a:pt x="19743" y="0"/>
                </a:moveTo>
                <a:lnTo>
                  <a:pt x="1857" y="13286"/>
                </a:lnTo>
                <a:lnTo>
                  <a:pt x="0" y="21600"/>
                </a:lnTo>
                <a:lnTo>
                  <a:pt x="21600" y="8314"/>
                </a:lnTo>
                <a:cubicBezTo>
                  <a:pt x="21600" y="8314"/>
                  <a:pt x="19743" y="0"/>
                  <a:pt x="19743" y="0"/>
                </a:cubicBezTo>
                <a:close/>
              </a:path>
            </a:pathLst>
          </a:custGeom>
          <a:solidFill>
            <a:schemeClr val="accent3">
              <a:lumMod val="50000"/>
            </a:schemeClr>
          </a:solidFill>
          <a:ln w="12700" cap="flat">
            <a:noFill/>
            <a:miter lim="400000"/>
          </a:ln>
          <a:effectLst/>
        </p:spPr>
        <p:txBody>
          <a:bodyPr wrap="square" lIns="44112" tIns="44112" rIns="44112" bIns="44112" numCol="1" anchor="ctr">
            <a:noAutofit/>
          </a:bodyPr>
          <a:lstStyle/>
          <a:p>
            <a:pPr algn="ctr">
              <a:lnSpc>
                <a:spcPct val="120000"/>
              </a:lnSpc>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US" sz="1330" dirty="0">
              <a:solidFill>
                <a:schemeClr val="bg1"/>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31" name="Shape 5169"/>
          <p:cNvSpPr/>
          <p:nvPr/>
        </p:nvSpPr>
        <p:spPr>
          <a:xfrm>
            <a:off x="1534286" y="4293084"/>
            <a:ext cx="3992247" cy="1300661"/>
          </a:xfrm>
          <a:custGeom>
            <a:avLst/>
            <a:gdLst/>
            <a:ahLst/>
            <a:cxnLst>
              <a:cxn ang="0">
                <a:pos x="wd2" y="hd2"/>
              </a:cxn>
              <a:cxn ang="5400000">
                <a:pos x="wd2" y="hd2"/>
              </a:cxn>
              <a:cxn ang="10800000">
                <a:pos x="wd2" y="hd2"/>
              </a:cxn>
              <a:cxn ang="16200000">
                <a:pos x="wd2" y="hd2"/>
              </a:cxn>
            </a:cxnLst>
            <a:rect l="0" t="0" r="r" b="b"/>
            <a:pathLst>
              <a:path w="21600" h="21600" extrusionOk="0">
                <a:moveTo>
                  <a:pt x="1457" y="13286"/>
                </a:moveTo>
                <a:lnTo>
                  <a:pt x="0" y="21600"/>
                </a:lnTo>
                <a:lnTo>
                  <a:pt x="21600" y="8314"/>
                </a:lnTo>
                <a:lnTo>
                  <a:pt x="20143" y="0"/>
                </a:lnTo>
                <a:cubicBezTo>
                  <a:pt x="20143" y="0"/>
                  <a:pt x="1457" y="13286"/>
                  <a:pt x="1457" y="13286"/>
                </a:cubicBezTo>
                <a:close/>
              </a:path>
            </a:pathLst>
          </a:custGeom>
          <a:solidFill>
            <a:schemeClr val="accent4">
              <a:lumMod val="50000"/>
            </a:schemeClr>
          </a:solidFill>
          <a:ln w="12700" cap="flat">
            <a:noFill/>
            <a:miter lim="400000"/>
          </a:ln>
          <a:effectLst/>
        </p:spPr>
        <p:txBody>
          <a:bodyPr wrap="square" lIns="44112" tIns="44112" rIns="44112" bIns="44112" numCol="1" anchor="ctr">
            <a:noAutofit/>
          </a:bodyPr>
          <a:lstStyle/>
          <a:p>
            <a:pPr algn="ctr">
              <a:lnSpc>
                <a:spcPct val="120000"/>
              </a:lnSpc>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US" sz="1330" dirty="0">
              <a:solidFill>
                <a:schemeClr val="bg1"/>
              </a:solidFill>
              <a:latin typeface="Source Han Sans HW SC" panose="020F0502020204030204"/>
              <a:ea typeface="庞门正道标题体" panose="02010600030101010101" pitchFamily="2" charset="-122"/>
              <a:cs typeface="+mn-ea"/>
              <a:sym typeface="Source Han Sans HW SC" panose="020F0502020204030204"/>
            </a:endParaRPr>
          </a:p>
        </p:txBody>
      </p:sp>
      <p:grpSp>
        <p:nvGrpSpPr>
          <p:cNvPr id="32" name="组合 31"/>
          <p:cNvGrpSpPr/>
          <p:nvPr/>
        </p:nvGrpSpPr>
        <p:grpSpPr>
          <a:xfrm>
            <a:off x="3254929" y="1599941"/>
            <a:ext cx="993241" cy="851512"/>
            <a:chOff x="2313735" y="1108481"/>
            <a:chExt cx="857881" cy="735467"/>
          </a:xfrm>
        </p:grpSpPr>
        <p:sp>
          <p:nvSpPr>
            <p:cNvPr id="33" name="Shape 5171"/>
            <p:cNvSpPr/>
            <p:nvPr/>
          </p:nvSpPr>
          <p:spPr>
            <a:xfrm>
              <a:off x="2313735" y="1108481"/>
              <a:ext cx="849654" cy="687055"/>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accent1"/>
            </a:solidFill>
            <a:ln w="12700" cap="flat">
              <a:noFill/>
              <a:miter lim="400000"/>
            </a:ln>
            <a:effectLst/>
          </p:spPr>
          <p:txBody>
            <a:bodyPr wrap="square" lIns="0" tIns="0" rIns="0" bIns="0" numCol="1" anchor="t">
              <a:noAutofit/>
            </a:bodyPr>
            <a:lstStyle/>
            <a:p>
              <a:pPr lvl="0" algn="ctr">
                <a:lnSpc>
                  <a:spcPct val="120000"/>
                </a:lnSpc>
                <a:defRPr>
                  <a:solidFill>
                    <a:srgbClr val="4C4C4C"/>
                  </a:solidFill>
                </a:defRPr>
              </a:pPr>
              <a:endParaRPr 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sp>
          <p:nvSpPr>
            <p:cNvPr id="34" name="Shape 5176"/>
            <p:cNvSpPr/>
            <p:nvPr/>
          </p:nvSpPr>
          <p:spPr>
            <a:xfrm>
              <a:off x="2329102" y="1491630"/>
              <a:ext cx="842514" cy="352318"/>
            </a:xfrm>
            <a:prstGeom prst="rect">
              <a:avLst/>
            </a:prstGeom>
            <a:noFill/>
            <a:ln w="12700" cap="flat">
              <a:noFill/>
              <a:miter lim="400000"/>
            </a:ln>
            <a:effec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rPr>
                <a:t>输入文本</a:t>
              </a:r>
            </a:p>
          </p:txBody>
        </p:sp>
      </p:grpSp>
      <p:grpSp>
        <p:nvGrpSpPr>
          <p:cNvPr id="35" name="组合 34"/>
          <p:cNvGrpSpPr/>
          <p:nvPr/>
        </p:nvGrpSpPr>
        <p:grpSpPr>
          <a:xfrm>
            <a:off x="2827254" y="2686774"/>
            <a:ext cx="1840580" cy="500639"/>
            <a:chOff x="1944344" y="2047198"/>
            <a:chExt cx="1589745" cy="432411"/>
          </a:xfrm>
        </p:grpSpPr>
        <p:sp>
          <p:nvSpPr>
            <p:cNvPr id="36" name="Shape 5173"/>
            <p:cNvSpPr/>
            <p:nvPr/>
          </p:nvSpPr>
          <p:spPr>
            <a:xfrm>
              <a:off x="1944344" y="2047198"/>
              <a:ext cx="1589745" cy="432411"/>
            </a:xfrm>
            <a:custGeom>
              <a:avLst/>
              <a:gdLst/>
              <a:ahLst/>
              <a:cxnLst>
                <a:cxn ang="0">
                  <a:pos x="wd2" y="hd2"/>
                </a:cxn>
                <a:cxn ang="5400000">
                  <a:pos x="wd2" y="hd2"/>
                </a:cxn>
                <a:cxn ang="10800000">
                  <a:pos x="wd2" y="hd2"/>
                </a:cxn>
                <a:cxn ang="16200000">
                  <a:pos x="wd2" y="hd2"/>
                </a:cxn>
              </a:cxnLst>
              <a:rect l="0" t="0" r="r" b="b"/>
              <a:pathLst>
                <a:path w="21600" h="21600" extrusionOk="0">
                  <a:moveTo>
                    <a:pt x="3160" y="0"/>
                  </a:moveTo>
                  <a:lnTo>
                    <a:pt x="0" y="21600"/>
                  </a:lnTo>
                  <a:lnTo>
                    <a:pt x="21600" y="21600"/>
                  </a:lnTo>
                  <a:lnTo>
                    <a:pt x="18440" y="0"/>
                  </a:lnTo>
                  <a:cubicBezTo>
                    <a:pt x="18440" y="0"/>
                    <a:pt x="3160" y="0"/>
                    <a:pt x="3160" y="0"/>
                  </a:cubicBezTo>
                  <a:close/>
                </a:path>
              </a:pathLst>
            </a:custGeom>
            <a:solidFill>
              <a:schemeClr val="accent2"/>
            </a:solidFill>
            <a:ln w="12700" cap="flat">
              <a:noFill/>
              <a:miter lim="400000"/>
            </a:ln>
            <a:effectLst/>
          </p:spPr>
          <p:txBody>
            <a:bodyPr wrap="square" lIns="44112" tIns="44112" rIns="44112" bIns="44112" numCol="1" anchor="ctr">
              <a:noAutofit/>
            </a:bodyPr>
            <a:lstStyle/>
            <a:p>
              <a:pPr lvl="0" algn="ctr">
                <a:lnSpc>
                  <a:spcPct val="120000"/>
                </a:lnSpc>
                <a:defRPr>
                  <a:solidFill>
                    <a:srgbClr val="4C4C4C"/>
                  </a:solidFill>
                </a:defRPr>
              </a:pPr>
              <a:endParaRPr 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sp>
          <p:nvSpPr>
            <p:cNvPr id="37" name="Shape 5177"/>
            <p:cNvSpPr/>
            <p:nvPr/>
          </p:nvSpPr>
          <p:spPr>
            <a:xfrm>
              <a:off x="2191740" y="2087244"/>
              <a:ext cx="1099552" cy="352318"/>
            </a:xfrm>
            <a:prstGeom prst="rect">
              <a:avLst/>
            </a:prstGeom>
            <a:noFill/>
            <a:ln w="12700" cap="flat">
              <a:noFill/>
              <a:miter lim="400000"/>
            </a:ln>
            <a:effec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rPr>
                <a:t>点击输入文本</a:t>
              </a:r>
            </a:p>
          </p:txBody>
        </p:sp>
      </p:grpSp>
      <p:grpSp>
        <p:nvGrpSpPr>
          <p:cNvPr id="38" name="组合 37"/>
          <p:cNvGrpSpPr/>
          <p:nvPr/>
        </p:nvGrpSpPr>
        <p:grpSpPr>
          <a:xfrm>
            <a:off x="2399581" y="3489925"/>
            <a:ext cx="2701249" cy="500640"/>
            <a:chOff x="1574955" y="2740898"/>
            <a:chExt cx="2333121" cy="432412"/>
          </a:xfrm>
        </p:grpSpPr>
        <p:sp>
          <p:nvSpPr>
            <p:cNvPr id="39" name="Shape 5172"/>
            <p:cNvSpPr/>
            <p:nvPr/>
          </p:nvSpPr>
          <p:spPr>
            <a:xfrm>
              <a:off x="1574955" y="2740898"/>
              <a:ext cx="2333121" cy="432412"/>
            </a:xfrm>
            <a:custGeom>
              <a:avLst/>
              <a:gdLst/>
              <a:ahLst/>
              <a:cxnLst>
                <a:cxn ang="0">
                  <a:pos x="wd2" y="hd2"/>
                </a:cxn>
                <a:cxn ang="5400000">
                  <a:pos x="wd2" y="hd2"/>
                </a:cxn>
                <a:cxn ang="10800000">
                  <a:pos x="wd2" y="hd2"/>
                </a:cxn>
                <a:cxn ang="16200000">
                  <a:pos x="wd2" y="hd2"/>
                </a:cxn>
              </a:cxnLst>
              <a:rect l="0" t="0" r="r" b="b"/>
              <a:pathLst>
                <a:path w="21600" h="21600" extrusionOk="0">
                  <a:moveTo>
                    <a:pt x="2153" y="0"/>
                  </a:moveTo>
                  <a:lnTo>
                    <a:pt x="0" y="21600"/>
                  </a:lnTo>
                  <a:lnTo>
                    <a:pt x="21600" y="21600"/>
                  </a:lnTo>
                  <a:lnTo>
                    <a:pt x="19447" y="0"/>
                  </a:lnTo>
                  <a:cubicBezTo>
                    <a:pt x="19447" y="0"/>
                    <a:pt x="2153" y="0"/>
                    <a:pt x="2153" y="0"/>
                  </a:cubicBezTo>
                  <a:close/>
                </a:path>
              </a:pathLst>
            </a:custGeom>
            <a:solidFill>
              <a:schemeClr val="accent3"/>
            </a:solidFill>
            <a:ln w="12700" cap="flat">
              <a:noFill/>
              <a:miter lim="400000"/>
            </a:ln>
            <a:effectLst/>
          </p:spPr>
          <p:txBody>
            <a:bodyPr wrap="square" lIns="44112" tIns="44112" rIns="44112" bIns="44112" numCol="1" anchor="ctr">
              <a:noAutofit/>
            </a:bodyPr>
            <a:lstStyle/>
            <a:p>
              <a:pPr lvl="0" algn="ctr">
                <a:lnSpc>
                  <a:spcPct val="120000"/>
                </a:lnSpc>
                <a:defRPr>
                  <a:solidFill>
                    <a:srgbClr val="4C4C4C"/>
                  </a:solidFill>
                </a:defRPr>
              </a:pPr>
              <a:endParaRPr 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sp>
          <p:nvSpPr>
            <p:cNvPr id="40" name="Shape 5178"/>
            <p:cNvSpPr/>
            <p:nvPr/>
          </p:nvSpPr>
          <p:spPr>
            <a:xfrm>
              <a:off x="1815028" y="2780945"/>
              <a:ext cx="1849246" cy="352318"/>
            </a:xfrm>
            <a:prstGeom prst="rect">
              <a:avLst/>
            </a:prstGeom>
            <a:noFill/>
            <a:ln w="12700" cap="flat">
              <a:noFill/>
              <a:miter lim="400000"/>
            </a:ln>
            <a:effec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a:solidFill>
                    <a:schemeClr val="bg1"/>
                  </a:solidFill>
                  <a:latin typeface="思源黑体 CN Regular" panose="020B0500000000000000" charset="-122"/>
                  <a:ea typeface="思源黑体 CN Regular" panose="020B0500000000000000" charset="-122"/>
                  <a:cs typeface="+mn-ea"/>
                  <a:sym typeface="Source Han Sans HW SC" panose="020F0502020204030204"/>
                </a:rPr>
                <a:t>请替换文字内容</a:t>
              </a:r>
              <a:endParaRPr lang="zh-CN" alt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grpSp>
      <p:grpSp>
        <p:nvGrpSpPr>
          <p:cNvPr id="41" name="组合 40"/>
          <p:cNvGrpSpPr/>
          <p:nvPr/>
        </p:nvGrpSpPr>
        <p:grpSpPr>
          <a:xfrm>
            <a:off x="1971905" y="4293082"/>
            <a:ext cx="3561911" cy="500633"/>
            <a:chOff x="1205565" y="3434598"/>
            <a:chExt cx="3076490" cy="432407"/>
          </a:xfrm>
        </p:grpSpPr>
        <p:sp>
          <p:nvSpPr>
            <p:cNvPr id="42" name="Shape 5174"/>
            <p:cNvSpPr/>
            <p:nvPr/>
          </p:nvSpPr>
          <p:spPr>
            <a:xfrm>
              <a:off x="1205565" y="3434598"/>
              <a:ext cx="3076490" cy="43240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9967" y="0"/>
                  </a:lnTo>
                  <a:lnTo>
                    <a:pt x="1633" y="0"/>
                  </a:lnTo>
                  <a:lnTo>
                    <a:pt x="0" y="21600"/>
                  </a:lnTo>
                  <a:cubicBezTo>
                    <a:pt x="0" y="21600"/>
                    <a:pt x="21600" y="21600"/>
                    <a:pt x="21600" y="21600"/>
                  </a:cubicBezTo>
                  <a:close/>
                </a:path>
              </a:pathLst>
            </a:custGeom>
            <a:solidFill>
              <a:schemeClr val="accent4"/>
            </a:solidFill>
            <a:ln w="12700" cap="flat">
              <a:noFill/>
              <a:miter lim="400000"/>
            </a:ln>
            <a:effectLst/>
          </p:spPr>
          <p:txBody>
            <a:bodyPr wrap="square" lIns="44112" tIns="44112" rIns="44112" bIns="44112" numCol="1" anchor="ctr">
              <a:noAutofit/>
            </a:bodyPr>
            <a:lstStyle/>
            <a:p>
              <a:pPr lvl="0" algn="ctr">
                <a:lnSpc>
                  <a:spcPct val="120000"/>
                </a:lnSpc>
                <a:defRPr>
                  <a:solidFill>
                    <a:srgbClr val="4C4C4C"/>
                  </a:solidFill>
                </a:defRPr>
              </a:pPr>
              <a:endParaRPr 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sp>
          <p:nvSpPr>
            <p:cNvPr id="43" name="Shape 5179"/>
            <p:cNvSpPr/>
            <p:nvPr/>
          </p:nvSpPr>
          <p:spPr>
            <a:xfrm>
              <a:off x="1422332" y="3474643"/>
              <a:ext cx="2634639" cy="352318"/>
            </a:xfrm>
            <a:prstGeom prst="rect">
              <a:avLst/>
            </a:prstGeom>
            <a:noFill/>
            <a:ln w="12700" cap="flat">
              <a:noFill/>
              <a:miter lim="400000"/>
            </a:ln>
            <a:effec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a:solidFill>
                    <a:schemeClr val="bg1"/>
                  </a:solidFill>
                  <a:latin typeface="思源黑体 CN Regular" panose="020B0500000000000000" charset="-122"/>
                  <a:ea typeface="思源黑体 CN Regular" panose="020B0500000000000000" charset="-122"/>
                  <a:cs typeface="+mn-ea"/>
                  <a:sym typeface="Source Han Sans HW SC" panose="020F0502020204030204"/>
                </a:rPr>
                <a:t>请替换文字内容</a:t>
              </a:r>
              <a:endParaRPr lang="zh-CN" alt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grpSp>
      <p:grpSp>
        <p:nvGrpSpPr>
          <p:cNvPr id="44" name="组合 43"/>
          <p:cNvGrpSpPr/>
          <p:nvPr/>
        </p:nvGrpSpPr>
        <p:grpSpPr>
          <a:xfrm>
            <a:off x="1534288" y="5085085"/>
            <a:ext cx="4422583" cy="500633"/>
            <a:chOff x="827585" y="4118665"/>
            <a:chExt cx="3819870" cy="432407"/>
          </a:xfrm>
          <a:solidFill>
            <a:schemeClr val="accent5"/>
          </a:solidFill>
        </p:grpSpPr>
        <p:sp>
          <p:nvSpPr>
            <p:cNvPr id="45" name="Shape 5175"/>
            <p:cNvSpPr/>
            <p:nvPr/>
          </p:nvSpPr>
          <p:spPr>
            <a:xfrm>
              <a:off x="827585" y="4118665"/>
              <a:ext cx="3819870" cy="432407"/>
            </a:xfrm>
            <a:custGeom>
              <a:avLst/>
              <a:gdLst/>
              <a:ahLst/>
              <a:cxnLst>
                <a:cxn ang="0">
                  <a:pos x="wd2" y="hd2"/>
                </a:cxn>
                <a:cxn ang="5400000">
                  <a:pos x="wd2" y="hd2"/>
                </a:cxn>
                <a:cxn ang="10800000">
                  <a:pos x="wd2" y="hd2"/>
                </a:cxn>
                <a:cxn ang="16200000">
                  <a:pos x="wd2" y="hd2"/>
                </a:cxn>
              </a:cxnLst>
              <a:rect l="0" t="0" r="r" b="b"/>
              <a:pathLst>
                <a:path w="21600" h="21600" extrusionOk="0">
                  <a:moveTo>
                    <a:pt x="1315" y="0"/>
                  </a:moveTo>
                  <a:lnTo>
                    <a:pt x="0" y="21600"/>
                  </a:lnTo>
                  <a:lnTo>
                    <a:pt x="21600" y="21600"/>
                  </a:lnTo>
                  <a:lnTo>
                    <a:pt x="20285" y="0"/>
                  </a:lnTo>
                  <a:cubicBezTo>
                    <a:pt x="20285" y="0"/>
                    <a:pt x="1315" y="0"/>
                    <a:pt x="1315" y="0"/>
                  </a:cubicBezTo>
                  <a:close/>
                </a:path>
              </a:pathLst>
            </a:custGeom>
            <a:grpFill/>
            <a:ln w="12700" cap="flat">
              <a:noFill/>
              <a:miter lim="400000"/>
            </a:ln>
            <a:effectLst/>
          </p:spPr>
          <p:txBody>
            <a:bodyPr wrap="square" lIns="44112" tIns="44112" rIns="44112" bIns="44112" numCol="1" anchor="ctr">
              <a:noAutofit/>
            </a:bodyPr>
            <a:lstStyle/>
            <a:p>
              <a:pPr lvl="0" algn="ctr">
                <a:lnSpc>
                  <a:spcPct val="120000"/>
                </a:lnSpc>
                <a:defRPr>
                  <a:solidFill>
                    <a:srgbClr val="4C4C4C"/>
                  </a:solidFill>
                </a:defRPr>
              </a:pPr>
              <a:endParaRPr 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sp>
          <p:nvSpPr>
            <p:cNvPr id="46" name="Shape 5180"/>
            <p:cNvSpPr/>
            <p:nvPr/>
          </p:nvSpPr>
          <p:spPr>
            <a:xfrm>
              <a:off x="1072475" y="4158709"/>
              <a:ext cx="3334354" cy="352318"/>
            </a:xfrm>
            <a:prstGeom prst="rect">
              <a:avLst/>
            </a:prstGeom>
            <a:grpFill/>
            <a:ln w="12700" cap="flat">
              <a:noFill/>
              <a:miter lim="400000"/>
            </a:ln>
            <a:effec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lnSpc>
                  <a:spcPct val="120000"/>
                </a:lnSpc>
              </a:pPr>
              <a:r>
                <a:rPr lang="zh-CN" altLang="en-US" sz="1400">
                  <a:solidFill>
                    <a:schemeClr val="bg1"/>
                  </a:solidFill>
                  <a:latin typeface="思源黑体 CN Regular" panose="020B0500000000000000" charset="-122"/>
                  <a:ea typeface="思源黑体 CN Regular" panose="020B0500000000000000" charset="-122"/>
                  <a:cs typeface="+mn-ea"/>
                  <a:sym typeface="Source Han Sans HW SC" panose="020F0502020204030204"/>
                </a:rPr>
                <a:t>请替换文字内容</a:t>
              </a:r>
              <a:endParaRPr lang="zh-CN" altLang="en-US" sz="1400" dirty="0">
                <a:solidFill>
                  <a:schemeClr val="bg1"/>
                </a:solidFill>
                <a:latin typeface="思源黑体 CN Regular" panose="020B0500000000000000" charset="-122"/>
                <a:ea typeface="思源黑体 CN Regular" panose="020B0500000000000000" charset="-122"/>
                <a:cs typeface="+mn-ea"/>
                <a:sym typeface="Source Han Sans HW SC" panose="020F0502020204030204"/>
              </a:endParaRPr>
            </a:p>
          </p:txBody>
        </p:sp>
      </p:grpSp>
      <p:sp>
        <p:nvSpPr>
          <p:cNvPr id="47" name="Round Same Side Corner Rectangle 67"/>
          <p:cNvSpPr/>
          <p:nvPr/>
        </p:nvSpPr>
        <p:spPr>
          <a:xfrm rot="10800000" flipH="1">
            <a:off x="6470646" y="1615499"/>
            <a:ext cx="57776" cy="595152"/>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5265" tIns="47632" rIns="95265" bIns="47632" rtlCol="0" anchor="ctr"/>
          <a:lstStyle/>
          <a:p>
            <a:pPr algn="ctr">
              <a:lnSpc>
                <a:spcPct val="120000"/>
              </a:lnSpc>
            </a:pPr>
            <a:endParaRPr lang="bg-BG" sz="1515" dirty="0">
              <a:solidFill>
                <a:schemeClr val="tx1">
                  <a:lumMod val="65000"/>
                  <a:lumOff val="35000"/>
                </a:schemeClr>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48" name="Round Same Side Corner Rectangle 68"/>
          <p:cNvSpPr/>
          <p:nvPr/>
        </p:nvSpPr>
        <p:spPr>
          <a:xfrm rot="10800000" flipH="1">
            <a:off x="6468747" y="2520064"/>
            <a:ext cx="57776" cy="595152"/>
          </a:xfrm>
          <a:prstGeom prst="round2SameRect">
            <a:avLst>
              <a:gd name="adj1" fmla="val 5000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5265" tIns="47632" rIns="95265" bIns="47632" rtlCol="0" anchor="ctr"/>
          <a:lstStyle/>
          <a:p>
            <a:pPr algn="ctr">
              <a:lnSpc>
                <a:spcPct val="120000"/>
              </a:lnSpc>
            </a:pPr>
            <a:endParaRPr lang="bg-BG" sz="1515" dirty="0">
              <a:solidFill>
                <a:schemeClr val="tx1">
                  <a:lumMod val="65000"/>
                  <a:lumOff val="35000"/>
                </a:schemeClr>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49" name="Round Same Side Corner Rectangle 69"/>
          <p:cNvSpPr/>
          <p:nvPr/>
        </p:nvSpPr>
        <p:spPr>
          <a:xfrm rot="10800000" flipH="1">
            <a:off x="6470646" y="3342243"/>
            <a:ext cx="57776" cy="595152"/>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5265" tIns="47632" rIns="95265" bIns="47632" rtlCol="0" anchor="ctr"/>
          <a:lstStyle/>
          <a:p>
            <a:pPr algn="ctr">
              <a:lnSpc>
                <a:spcPct val="120000"/>
              </a:lnSpc>
            </a:pPr>
            <a:endParaRPr lang="bg-BG" sz="1515" dirty="0">
              <a:solidFill>
                <a:schemeClr val="tx1">
                  <a:lumMod val="65000"/>
                  <a:lumOff val="35000"/>
                </a:schemeClr>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50" name="Round Same Side Corner Rectangle 76"/>
          <p:cNvSpPr/>
          <p:nvPr/>
        </p:nvSpPr>
        <p:spPr>
          <a:xfrm rot="10800000" flipH="1">
            <a:off x="6468747" y="4176412"/>
            <a:ext cx="57776" cy="595152"/>
          </a:xfrm>
          <a:prstGeom prst="round2SameRect">
            <a:avLst>
              <a:gd name="adj1" fmla="val 5000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5265" tIns="47632" rIns="95265" bIns="47632" rtlCol="0" anchor="ctr"/>
          <a:lstStyle/>
          <a:p>
            <a:pPr algn="ctr">
              <a:lnSpc>
                <a:spcPct val="120000"/>
              </a:lnSpc>
            </a:pPr>
            <a:endParaRPr lang="bg-BG" sz="1515" dirty="0">
              <a:solidFill>
                <a:schemeClr val="tx1">
                  <a:lumMod val="65000"/>
                  <a:lumOff val="35000"/>
                </a:schemeClr>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51" name="Round Same Side Corner Rectangle 77"/>
          <p:cNvSpPr/>
          <p:nvPr/>
        </p:nvSpPr>
        <p:spPr>
          <a:xfrm rot="10800000" flipH="1">
            <a:off x="6470646" y="4998591"/>
            <a:ext cx="57776" cy="595152"/>
          </a:xfrm>
          <a:prstGeom prst="round2SameRect">
            <a:avLst>
              <a:gd name="adj1" fmla="val 50000"/>
              <a:gd name="adj2"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5265" tIns="47632" rIns="95265" bIns="47632" rtlCol="0" anchor="ctr"/>
          <a:lstStyle/>
          <a:p>
            <a:pPr algn="ctr">
              <a:lnSpc>
                <a:spcPct val="120000"/>
              </a:lnSpc>
            </a:pPr>
            <a:endParaRPr lang="bg-BG" sz="1515" dirty="0">
              <a:solidFill>
                <a:schemeClr val="tx1">
                  <a:lumMod val="65000"/>
                  <a:lumOff val="35000"/>
                </a:schemeClr>
              </a:solidFill>
              <a:latin typeface="Source Han Sans HW SC" panose="020F0502020204030204"/>
              <a:ea typeface="庞门正道标题体" panose="02010600030101010101" pitchFamily="2" charset="-122"/>
              <a:cs typeface="+mn-ea"/>
              <a:sym typeface="Source Han Sans HW SC" panose="020F0502020204030204"/>
            </a:endParaRPr>
          </a:p>
        </p:txBody>
      </p:sp>
      <p:sp>
        <p:nvSpPr>
          <p:cNvPr id="52" name="išľíďè"/>
          <p:cNvSpPr/>
          <p:nvPr/>
        </p:nvSpPr>
        <p:spPr bwMode="auto">
          <a:xfrm>
            <a:off x="6638469" y="1994077"/>
            <a:ext cx="4936294"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53" name="iSlíďè"/>
          <p:cNvSpPr txBox="1"/>
          <p:nvPr/>
        </p:nvSpPr>
        <p:spPr bwMode="auto">
          <a:xfrm>
            <a:off x="6646993" y="1625469"/>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54" name="išľíďè"/>
          <p:cNvSpPr/>
          <p:nvPr/>
        </p:nvSpPr>
        <p:spPr bwMode="auto">
          <a:xfrm>
            <a:off x="6646993" y="2846178"/>
            <a:ext cx="4936294"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55" name="iSlíďè"/>
          <p:cNvSpPr txBox="1"/>
          <p:nvPr/>
        </p:nvSpPr>
        <p:spPr bwMode="auto">
          <a:xfrm>
            <a:off x="6626498" y="2494982"/>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56" name="išľíďè"/>
          <p:cNvSpPr/>
          <p:nvPr/>
        </p:nvSpPr>
        <p:spPr bwMode="auto">
          <a:xfrm>
            <a:off x="6646993" y="3742492"/>
            <a:ext cx="4936294"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57" name="iSlíďè"/>
          <p:cNvSpPr txBox="1"/>
          <p:nvPr/>
        </p:nvSpPr>
        <p:spPr bwMode="auto">
          <a:xfrm>
            <a:off x="6655517" y="3373884"/>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58" name="išľíďè"/>
          <p:cNvSpPr/>
          <p:nvPr/>
        </p:nvSpPr>
        <p:spPr bwMode="auto">
          <a:xfrm>
            <a:off x="6646993" y="4502201"/>
            <a:ext cx="4936294"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59" name="iSlíďè"/>
          <p:cNvSpPr txBox="1"/>
          <p:nvPr/>
        </p:nvSpPr>
        <p:spPr bwMode="auto">
          <a:xfrm>
            <a:off x="6655517" y="4133593"/>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
        <p:nvSpPr>
          <p:cNvPr id="60" name="išľíďè"/>
          <p:cNvSpPr/>
          <p:nvPr/>
        </p:nvSpPr>
        <p:spPr bwMode="auto">
          <a:xfrm>
            <a:off x="6655517" y="5367199"/>
            <a:ext cx="4936294" cy="557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p>
            <a:pPr marL="0" marR="0" lvl="0" indent="0" algn="l" defTabSz="913765" rtl="0" eaLnBrk="1" fontAlgn="auto" latinLnBrk="0" hangingPunct="1">
              <a:lnSpc>
                <a:spcPct val="120000"/>
              </a:lnSpc>
              <a:spcBef>
                <a:spcPct val="0"/>
              </a:spcBef>
              <a:spcAft>
                <a:spcPts val="0"/>
              </a:spcAft>
              <a:buClrTx/>
              <a:buSzTx/>
              <a:buFontTx/>
              <a:buNone/>
              <a:defRPr/>
            </a:pPr>
            <a:r>
              <a:rPr lang="zh-CN" altLang="en-US" sz="120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a:t>
            </a:r>
            <a:endParaRPr kumimoji="0" lang="zh-CN" altLang="en-US" sz="1200" b="0" i="0" u="none" strike="noStrike" kern="1200" cap="none" spc="0" normalizeH="0" baseline="0" noProof="0" dirty="0">
              <a:ln>
                <a:noFill/>
              </a:ln>
              <a:solidFill>
                <a:schemeClr val="bg2">
                  <a:lumMod val="10000"/>
                </a:schemeClr>
              </a:solidFill>
              <a:effectLst/>
              <a:uLnTx/>
              <a:uFillTx/>
              <a:latin typeface="Source Han Sans HW SC" panose="020F0502020204030204"/>
              <a:ea typeface="庞门正道标题体" panose="02010600030101010101" pitchFamily="2" charset="-122"/>
              <a:sym typeface="Source Han Sans HW SC" panose="020F0502020204030204"/>
            </a:endParaRPr>
          </a:p>
        </p:txBody>
      </p:sp>
      <p:sp>
        <p:nvSpPr>
          <p:cNvPr id="61" name="iSlíďè"/>
          <p:cNvSpPr txBox="1"/>
          <p:nvPr/>
        </p:nvSpPr>
        <p:spPr bwMode="auto">
          <a:xfrm>
            <a:off x="6664041" y="4998591"/>
            <a:ext cx="2195830" cy="351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rIns="90000">
            <a:noAutofit/>
          </a:bodyPr>
          <a:lstStyle/>
          <a:p>
            <a:pPr marL="0" marR="0" lvl="0" indent="0" algn="l" defTabSz="913765" rtl="0" eaLnBrk="1" fontAlgn="auto" latinLnBrk="0" hangingPunct="1">
              <a:spcBef>
                <a:spcPct val="0"/>
              </a:spcBef>
              <a:spcAft>
                <a:spcPts val="0"/>
              </a:spcAft>
              <a:buClrTx/>
              <a:buSzTx/>
              <a:buFontTx/>
              <a:buNone/>
              <a:defRPr/>
            </a:pPr>
            <a:r>
              <a:rPr kumimoji="0" lang="zh-CN" altLang="en-US" sz="2400" i="0" u="none" strike="noStrike" kern="1200" cap="none" spc="0" normalizeH="0" baseline="0" noProof="0" dirty="0">
                <a:ln>
                  <a:noFill/>
                </a:ln>
                <a:solidFill>
                  <a:schemeClr val="bg2">
                    <a:lumMod val="10000"/>
                  </a:schemeClr>
                </a:solidFill>
                <a:effectLst/>
                <a:uLnTx/>
                <a:uFillTx/>
                <a:latin typeface="锐字真言体免费商用" panose="02010600030101010101" charset="-122"/>
                <a:ea typeface="锐字真言体免费商用" panose="02010600030101010101" charset="-122"/>
                <a:sym typeface="Source Han Sans HW SC" panose="020F0502020204030204"/>
              </a:rPr>
              <a:t>标题文本预设</a:t>
            </a:r>
          </a:p>
        </p:txBody>
      </p:sp>
    </p:spTree>
  </p:cSld>
  <p:clrMapOvr>
    <a:masterClrMapping/>
  </p:clrMapOvr>
  <mc:AlternateContent xmlns:mc="http://schemas.openxmlformats.org/markup-compatibility/2006" xmlns:p14="http://schemas.microsoft.com/office/powerpoint/2010/main">
    <mc:Choice Requires="p14">
      <p:transition spd="slow" p14:dur="1500" advTm="2000">
        <p:random/>
      </p:transition>
    </mc:Choice>
    <mc:Fallback xmlns="">
      <p:transition spd="slow" advTm="2000">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right)">
                                      <p:cBhvr>
                                        <p:cTn id="7" dur="500"/>
                                        <p:tgtEl>
                                          <p:spTgt spid="44"/>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wipe(left)">
                                      <p:cBhvr>
                                        <p:cTn id="11" dur="500"/>
                                        <p:tgtEl>
                                          <p:spTgt spid="31"/>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41"/>
                                        </p:tgtEl>
                                        <p:attrNameLst>
                                          <p:attrName>style.visibility</p:attrName>
                                        </p:attrNameLst>
                                      </p:cBhvr>
                                      <p:to>
                                        <p:strVal val="visible"/>
                                      </p:to>
                                    </p:set>
                                    <p:animEffect transition="in" filter="wipe(right)">
                                      <p:cBhvr>
                                        <p:cTn id="15" dur="500"/>
                                        <p:tgtEl>
                                          <p:spTgt spid="41"/>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Effect transition="in" filter="wipe(left)">
                                      <p:cBhvr>
                                        <p:cTn id="19" dur="500"/>
                                        <p:tgtEl>
                                          <p:spTgt spid="30"/>
                                        </p:tgtEl>
                                      </p:cBhvr>
                                    </p:animEffect>
                                  </p:childTnLst>
                                </p:cTn>
                              </p:par>
                            </p:childTnLst>
                          </p:cTn>
                        </p:par>
                        <p:par>
                          <p:cTn id="20" fill="hold">
                            <p:stCondLst>
                              <p:cond delay="2000"/>
                            </p:stCondLst>
                            <p:childTnLst>
                              <p:par>
                                <p:cTn id="21" presetID="22" presetClass="entr" presetSubtype="2" fill="hold" nodeType="after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wipe(right)">
                                      <p:cBhvr>
                                        <p:cTn id="23" dur="500"/>
                                        <p:tgtEl>
                                          <p:spTgt spid="38"/>
                                        </p:tgtEl>
                                      </p:cBhvr>
                                    </p:animEffect>
                                  </p:childTnLst>
                                </p:cTn>
                              </p:par>
                            </p:childTnLst>
                          </p:cTn>
                        </p:par>
                        <p:par>
                          <p:cTn id="24" fill="hold">
                            <p:stCondLst>
                              <p:cond delay="2500"/>
                            </p:stCondLst>
                            <p:childTnLst>
                              <p:par>
                                <p:cTn id="25" presetID="22" presetClass="entr" presetSubtype="8"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left)">
                                      <p:cBhvr>
                                        <p:cTn id="27" dur="500"/>
                                        <p:tgtEl>
                                          <p:spTgt spid="2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wipe(right)">
                                      <p:cBhvr>
                                        <p:cTn id="31" dur="500"/>
                                        <p:tgtEl>
                                          <p:spTgt spid="35"/>
                                        </p:tgtEl>
                                      </p:cBhvr>
                                    </p:animEffect>
                                  </p:childTnLst>
                                </p:cTn>
                              </p:par>
                            </p:childTnLst>
                          </p:cTn>
                        </p:par>
                        <p:par>
                          <p:cTn id="32" fill="hold">
                            <p:stCondLst>
                              <p:cond delay="3500"/>
                            </p:stCondLst>
                            <p:childTnLst>
                              <p:par>
                                <p:cTn id="33" presetID="22" presetClass="entr" presetSubtype="8" fill="hold" grpId="0"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wipe(left)">
                                      <p:cBhvr>
                                        <p:cTn id="35" dur="500"/>
                                        <p:tgtEl>
                                          <p:spTgt spid="28"/>
                                        </p:tgtEl>
                                      </p:cBhvr>
                                    </p:animEffect>
                                  </p:childTnLst>
                                </p:cTn>
                              </p:par>
                            </p:childTnLst>
                          </p:cTn>
                        </p:par>
                        <p:par>
                          <p:cTn id="36" fill="hold">
                            <p:stCondLst>
                              <p:cond delay="4000"/>
                            </p:stCondLst>
                            <p:childTnLst>
                              <p:par>
                                <p:cTn id="37" presetID="22" presetClass="entr" presetSubtype="4" fill="hold" nodeType="after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wipe(down)">
                                      <p:cBhvr>
                                        <p:cTn id="39" dur="500"/>
                                        <p:tgtEl>
                                          <p:spTgt spid="32"/>
                                        </p:tgtEl>
                                      </p:cBhvr>
                                    </p:animEffect>
                                  </p:childTnLst>
                                </p:cTn>
                              </p:par>
                            </p:childTnLst>
                          </p:cTn>
                        </p:par>
                        <p:par>
                          <p:cTn id="40" fill="hold">
                            <p:stCondLst>
                              <p:cond delay="4500"/>
                            </p:stCondLst>
                            <p:childTnLst>
                              <p:par>
                                <p:cTn id="41" presetID="22" presetClass="entr" presetSubtype="1" fill="hold" grpId="0"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up)">
                                      <p:cBhvr>
                                        <p:cTn id="43" dur="500"/>
                                        <p:tgtEl>
                                          <p:spTgt spid="47"/>
                                        </p:tgtEl>
                                      </p:cBhvr>
                                    </p:animEffect>
                                  </p:childTnLst>
                                </p:cTn>
                              </p:par>
                            </p:childTnLst>
                          </p:cTn>
                        </p:par>
                        <p:par>
                          <p:cTn id="44" fill="hold">
                            <p:stCondLst>
                              <p:cond delay="5000"/>
                            </p:stCondLst>
                            <p:childTnLst>
                              <p:par>
                                <p:cTn id="45" presetID="22" presetClass="entr" presetSubtype="1" fill="hold" grpId="0"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wipe(up)">
                                      <p:cBhvr>
                                        <p:cTn id="47" dur="500"/>
                                        <p:tgtEl>
                                          <p:spTgt spid="48"/>
                                        </p:tgtEl>
                                      </p:cBhvr>
                                    </p:animEffect>
                                  </p:childTnLst>
                                </p:cTn>
                              </p:par>
                            </p:childTnLst>
                          </p:cTn>
                        </p:par>
                        <p:par>
                          <p:cTn id="48" fill="hold">
                            <p:stCondLst>
                              <p:cond delay="5500"/>
                            </p:stCondLst>
                            <p:childTnLst>
                              <p:par>
                                <p:cTn id="49" presetID="22" presetClass="entr" presetSubtype="1" fill="hold" grpId="0" nodeType="afterEffect">
                                  <p:stCondLst>
                                    <p:cond delay="0"/>
                                  </p:stCondLst>
                                  <p:childTnLst>
                                    <p:set>
                                      <p:cBhvr>
                                        <p:cTn id="50" dur="1" fill="hold">
                                          <p:stCondLst>
                                            <p:cond delay="0"/>
                                          </p:stCondLst>
                                        </p:cTn>
                                        <p:tgtEl>
                                          <p:spTgt spid="49"/>
                                        </p:tgtEl>
                                        <p:attrNameLst>
                                          <p:attrName>style.visibility</p:attrName>
                                        </p:attrNameLst>
                                      </p:cBhvr>
                                      <p:to>
                                        <p:strVal val="visible"/>
                                      </p:to>
                                    </p:set>
                                    <p:animEffect transition="in" filter="wipe(up)">
                                      <p:cBhvr>
                                        <p:cTn id="51" dur="500"/>
                                        <p:tgtEl>
                                          <p:spTgt spid="49"/>
                                        </p:tgtEl>
                                      </p:cBhvr>
                                    </p:animEffect>
                                  </p:childTnLst>
                                </p:cTn>
                              </p:par>
                            </p:childTnLst>
                          </p:cTn>
                        </p:par>
                        <p:par>
                          <p:cTn id="52" fill="hold">
                            <p:stCondLst>
                              <p:cond delay="6000"/>
                            </p:stCondLst>
                            <p:childTnLst>
                              <p:par>
                                <p:cTn id="53" presetID="22" presetClass="entr" presetSubtype="1" fill="hold" grpId="0" nodeType="afterEffect">
                                  <p:stCondLst>
                                    <p:cond delay="0"/>
                                  </p:stCondLst>
                                  <p:childTnLst>
                                    <p:set>
                                      <p:cBhvr>
                                        <p:cTn id="54" dur="1" fill="hold">
                                          <p:stCondLst>
                                            <p:cond delay="0"/>
                                          </p:stCondLst>
                                        </p:cTn>
                                        <p:tgtEl>
                                          <p:spTgt spid="50"/>
                                        </p:tgtEl>
                                        <p:attrNameLst>
                                          <p:attrName>style.visibility</p:attrName>
                                        </p:attrNameLst>
                                      </p:cBhvr>
                                      <p:to>
                                        <p:strVal val="visible"/>
                                      </p:to>
                                    </p:set>
                                    <p:animEffect transition="in" filter="wipe(up)">
                                      <p:cBhvr>
                                        <p:cTn id="55" dur="500"/>
                                        <p:tgtEl>
                                          <p:spTgt spid="50"/>
                                        </p:tgtEl>
                                      </p:cBhvr>
                                    </p:animEffect>
                                  </p:childTnLst>
                                </p:cTn>
                              </p:par>
                            </p:childTnLst>
                          </p:cTn>
                        </p:par>
                        <p:par>
                          <p:cTn id="56" fill="hold">
                            <p:stCondLst>
                              <p:cond delay="6500"/>
                            </p:stCondLst>
                            <p:childTnLst>
                              <p:par>
                                <p:cTn id="57" presetID="22" presetClass="entr" presetSubtype="1" fill="hold" grpId="0" nodeType="afterEffect">
                                  <p:stCondLst>
                                    <p:cond delay="0"/>
                                  </p:stCondLst>
                                  <p:childTnLst>
                                    <p:set>
                                      <p:cBhvr>
                                        <p:cTn id="58" dur="1" fill="hold">
                                          <p:stCondLst>
                                            <p:cond delay="0"/>
                                          </p:stCondLst>
                                        </p:cTn>
                                        <p:tgtEl>
                                          <p:spTgt spid="51"/>
                                        </p:tgtEl>
                                        <p:attrNameLst>
                                          <p:attrName>style.visibility</p:attrName>
                                        </p:attrNameLst>
                                      </p:cBhvr>
                                      <p:to>
                                        <p:strVal val="visible"/>
                                      </p:to>
                                    </p:set>
                                    <p:animEffect transition="in" filter="wipe(up)">
                                      <p:cBhvr>
                                        <p:cTn id="59" dur="500"/>
                                        <p:tgtEl>
                                          <p:spTgt spid="51"/>
                                        </p:tgtEl>
                                      </p:cBhvr>
                                    </p:animEffect>
                                  </p:childTnLst>
                                </p:cTn>
                              </p:par>
                            </p:childTnLst>
                          </p:cTn>
                        </p:par>
                      </p:childTnLst>
                    </p:cTn>
                  </p:par>
                  <p:par>
                    <p:cTn id="60" fill="hold">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53"/>
                                        </p:tgtEl>
                                        <p:attrNameLst>
                                          <p:attrName>style.visibility</p:attrName>
                                        </p:attrNameLst>
                                      </p:cBhvr>
                                      <p:to>
                                        <p:strVal val="visible"/>
                                      </p:to>
                                    </p:set>
                                    <p:animEffect transition="in" filter="wipe(down)">
                                      <p:cBhvr>
                                        <p:cTn id="64" dur="500"/>
                                        <p:tgtEl>
                                          <p:spTgt spid="53"/>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4" fill="hold" grpId="0" nodeType="clickEffect">
                                  <p:stCondLst>
                                    <p:cond delay="0"/>
                                  </p:stCondLst>
                                  <p:childTnLst>
                                    <p:set>
                                      <p:cBhvr>
                                        <p:cTn id="68" dur="1" fill="hold">
                                          <p:stCondLst>
                                            <p:cond delay="0"/>
                                          </p:stCondLst>
                                        </p:cTn>
                                        <p:tgtEl>
                                          <p:spTgt spid="52"/>
                                        </p:tgtEl>
                                        <p:attrNameLst>
                                          <p:attrName>style.visibility</p:attrName>
                                        </p:attrNameLst>
                                      </p:cBhvr>
                                      <p:to>
                                        <p:strVal val="visible"/>
                                      </p:to>
                                    </p:set>
                                    <p:animEffect transition="in" filter="wipe(down)">
                                      <p:cBhvr>
                                        <p:cTn id="69" dur="500"/>
                                        <p:tgtEl>
                                          <p:spTgt spid="52"/>
                                        </p:tgtEl>
                                      </p:cBhvr>
                                    </p:animEffect>
                                  </p:childTnLst>
                                </p:cTn>
                              </p:par>
                            </p:childTnLst>
                          </p:cTn>
                        </p:par>
                      </p:childTnLst>
                    </p:cTn>
                  </p:par>
                  <p:par>
                    <p:cTn id="70" fill="hold">
                      <p:stCondLst>
                        <p:cond delay="indefinite"/>
                      </p:stCondLst>
                      <p:childTnLst>
                        <p:par>
                          <p:cTn id="71" fill="hold">
                            <p:stCondLst>
                              <p:cond delay="0"/>
                            </p:stCondLst>
                            <p:childTnLst>
                              <p:par>
                                <p:cTn id="72" presetID="22" presetClass="entr" presetSubtype="4" fill="hold" grpId="0" nodeType="clickEffect">
                                  <p:stCondLst>
                                    <p:cond delay="0"/>
                                  </p:stCondLst>
                                  <p:childTnLst>
                                    <p:set>
                                      <p:cBhvr>
                                        <p:cTn id="73" dur="1" fill="hold">
                                          <p:stCondLst>
                                            <p:cond delay="0"/>
                                          </p:stCondLst>
                                        </p:cTn>
                                        <p:tgtEl>
                                          <p:spTgt spid="55"/>
                                        </p:tgtEl>
                                        <p:attrNameLst>
                                          <p:attrName>style.visibility</p:attrName>
                                        </p:attrNameLst>
                                      </p:cBhvr>
                                      <p:to>
                                        <p:strVal val="visible"/>
                                      </p:to>
                                    </p:set>
                                    <p:animEffect transition="in" filter="wipe(down)">
                                      <p:cBhvr>
                                        <p:cTn id="74" dur="500"/>
                                        <p:tgtEl>
                                          <p:spTgt spid="55"/>
                                        </p:tgtEl>
                                      </p:cBhvr>
                                    </p:animEffect>
                                  </p:childTnLst>
                                </p:cTn>
                              </p:par>
                            </p:childTnLst>
                          </p:cTn>
                        </p:par>
                      </p:childTnLst>
                    </p:cTn>
                  </p:par>
                  <p:par>
                    <p:cTn id="75" fill="hold">
                      <p:stCondLst>
                        <p:cond delay="indefinite"/>
                      </p:stCondLst>
                      <p:childTnLst>
                        <p:par>
                          <p:cTn id="76" fill="hold">
                            <p:stCondLst>
                              <p:cond delay="0"/>
                            </p:stCondLst>
                            <p:childTnLst>
                              <p:par>
                                <p:cTn id="77" presetID="22" presetClass="entr" presetSubtype="4" fill="hold" grpId="0" nodeType="clickEffect">
                                  <p:stCondLst>
                                    <p:cond delay="0"/>
                                  </p:stCondLst>
                                  <p:childTnLst>
                                    <p:set>
                                      <p:cBhvr>
                                        <p:cTn id="78" dur="1" fill="hold">
                                          <p:stCondLst>
                                            <p:cond delay="0"/>
                                          </p:stCondLst>
                                        </p:cTn>
                                        <p:tgtEl>
                                          <p:spTgt spid="54"/>
                                        </p:tgtEl>
                                        <p:attrNameLst>
                                          <p:attrName>style.visibility</p:attrName>
                                        </p:attrNameLst>
                                      </p:cBhvr>
                                      <p:to>
                                        <p:strVal val="visible"/>
                                      </p:to>
                                    </p:set>
                                    <p:animEffect transition="in" filter="wipe(down)">
                                      <p:cBhvr>
                                        <p:cTn id="79" dur="500"/>
                                        <p:tgtEl>
                                          <p:spTgt spid="54"/>
                                        </p:tgtEl>
                                      </p:cBhvr>
                                    </p:animEffect>
                                  </p:childTnLst>
                                </p:cTn>
                              </p:par>
                            </p:childTnLst>
                          </p:cTn>
                        </p:par>
                      </p:childTnLst>
                    </p:cTn>
                  </p:par>
                  <p:par>
                    <p:cTn id="80" fill="hold">
                      <p:stCondLst>
                        <p:cond delay="indefinite"/>
                      </p:stCondLst>
                      <p:childTnLst>
                        <p:par>
                          <p:cTn id="81" fill="hold">
                            <p:stCondLst>
                              <p:cond delay="0"/>
                            </p:stCondLst>
                            <p:childTnLst>
                              <p:par>
                                <p:cTn id="82" presetID="22" presetClass="entr" presetSubtype="4" fill="hold" grpId="0" nodeType="clickEffect">
                                  <p:stCondLst>
                                    <p:cond delay="0"/>
                                  </p:stCondLst>
                                  <p:childTnLst>
                                    <p:set>
                                      <p:cBhvr>
                                        <p:cTn id="83" dur="1" fill="hold">
                                          <p:stCondLst>
                                            <p:cond delay="0"/>
                                          </p:stCondLst>
                                        </p:cTn>
                                        <p:tgtEl>
                                          <p:spTgt spid="57"/>
                                        </p:tgtEl>
                                        <p:attrNameLst>
                                          <p:attrName>style.visibility</p:attrName>
                                        </p:attrNameLst>
                                      </p:cBhvr>
                                      <p:to>
                                        <p:strVal val="visible"/>
                                      </p:to>
                                    </p:set>
                                    <p:animEffect transition="in" filter="wipe(down)">
                                      <p:cBhvr>
                                        <p:cTn id="84" dur="500"/>
                                        <p:tgtEl>
                                          <p:spTgt spid="57"/>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4" fill="hold" grpId="0" nodeType="clickEffect">
                                  <p:stCondLst>
                                    <p:cond delay="0"/>
                                  </p:stCondLst>
                                  <p:childTnLst>
                                    <p:set>
                                      <p:cBhvr>
                                        <p:cTn id="88" dur="1" fill="hold">
                                          <p:stCondLst>
                                            <p:cond delay="0"/>
                                          </p:stCondLst>
                                        </p:cTn>
                                        <p:tgtEl>
                                          <p:spTgt spid="56"/>
                                        </p:tgtEl>
                                        <p:attrNameLst>
                                          <p:attrName>style.visibility</p:attrName>
                                        </p:attrNameLst>
                                      </p:cBhvr>
                                      <p:to>
                                        <p:strVal val="visible"/>
                                      </p:to>
                                    </p:set>
                                    <p:animEffect transition="in" filter="wipe(down)">
                                      <p:cBhvr>
                                        <p:cTn id="89" dur="500"/>
                                        <p:tgtEl>
                                          <p:spTgt spid="56"/>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4" fill="hold" grpId="0" nodeType="clickEffect">
                                  <p:stCondLst>
                                    <p:cond delay="0"/>
                                  </p:stCondLst>
                                  <p:childTnLst>
                                    <p:set>
                                      <p:cBhvr>
                                        <p:cTn id="93" dur="1" fill="hold">
                                          <p:stCondLst>
                                            <p:cond delay="0"/>
                                          </p:stCondLst>
                                        </p:cTn>
                                        <p:tgtEl>
                                          <p:spTgt spid="59"/>
                                        </p:tgtEl>
                                        <p:attrNameLst>
                                          <p:attrName>style.visibility</p:attrName>
                                        </p:attrNameLst>
                                      </p:cBhvr>
                                      <p:to>
                                        <p:strVal val="visible"/>
                                      </p:to>
                                    </p:set>
                                    <p:animEffect transition="in" filter="wipe(down)">
                                      <p:cBhvr>
                                        <p:cTn id="94" dur="500"/>
                                        <p:tgtEl>
                                          <p:spTgt spid="59"/>
                                        </p:tgtEl>
                                      </p:cBhvr>
                                    </p:animEffect>
                                  </p:childTnLst>
                                </p:cTn>
                              </p:par>
                            </p:childTnLst>
                          </p:cTn>
                        </p:par>
                      </p:childTnLst>
                    </p:cTn>
                  </p:par>
                  <p:par>
                    <p:cTn id="95" fill="hold">
                      <p:stCondLst>
                        <p:cond delay="indefinite"/>
                      </p:stCondLst>
                      <p:childTnLst>
                        <p:par>
                          <p:cTn id="96" fill="hold">
                            <p:stCondLst>
                              <p:cond delay="0"/>
                            </p:stCondLst>
                            <p:childTnLst>
                              <p:par>
                                <p:cTn id="97" presetID="22" presetClass="entr" presetSubtype="4" fill="hold" grpId="0" nodeType="clickEffect">
                                  <p:stCondLst>
                                    <p:cond delay="0"/>
                                  </p:stCondLst>
                                  <p:childTnLst>
                                    <p:set>
                                      <p:cBhvr>
                                        <p:cTn id="98" dur="1" fill="hold">
                                          <p:stCondLst>
                                            <p:cond delay="0"/>
                                          </p:stCondLst>
                                        </p:cTn>
                                        <p:tgtEl>
                                          <p:spTgt spid="58"/>
                                        </p:tgtEl>
                                        <p:attrNameLst>
                                          <p:attrName>style.visibility</p:attrName>
                                        </p:attrNameLst>
                                      </p:cBhvr>
                                      <p:to>
                                        <p:strVal val="visible"/>
                                      </p:to>
                                    </p:set>
                                    <p:animEffect transition="in" filter="wipe(down)">
                                      <p:cBhvr>
                                        <p:cTn id="99" dur="500"/>
                                        <p:tgtEl>
                                          <p:spTgt spid="58"/>
                                        </p:tgtEl>
                                      </p:cBhvr>
                                    </p:animEffect>
                                  </p:childTnLst>
                                </p:cTn>
                              </p:par>
                            </p:childTnLst>
                          </p:cTn>
                        </p:par>
                      </p:childTnLst>
                    </p:cTn>
                  </p:par>
                  <p:par>
                    <p:cTn id="100" fill="hold">
                      <p:stCondLst>
                        <p:cond delay="indefinite"/>
                      </p:stCondLst>
                      <p:childTnLst>
                        <p:par>
                          <p:cTn id="101" fill="hold">
                            <p:stCondLst>
                              <p:cond delay="0"/>
                            </p:stCondLst>
                            <p:childTnLst>
                              <p:par>
                                <p:cTn id="102" presetID="22" presetClass="entr" presetSubtype="4" fill="hold" grpId="0" nodeType="clickEffect">
                                  <p:stCondLst>
                                    <p:cond delay="0"/>
                                  </p:stCondLst>
                                  <p:childTnLst>
                                    <p:set>
                                      <p:cBhvr>
                                        <p:cTn id="103" dur="1" fill="hold">
                                          <p:stCondLst>
                                            <p:cond delay="0"/>
                                          </p:stCondLst>
                                        </p:cTn>
                                        <p:tgtEl>
                                          <p:spTgt spid="61"/>
                                        </p:tgtEl>
                                        <p:attrNameLst>
                                          <p:attrName>style.visibility</p:attrName>
                                        </p:attrNameLst>
                                      </p:cBhvr>
                                      <p:to>
                                        <p:strVal val="visible"/>
                                      </p:to>
                                    </p:set>
                                    <p:animEffect transition="in" filter="wipe(down)">
                                      <p:cBhvr>
                                        <p:cTn id="104" dur="500"/>
                                        <p:tgtEl>
                                          <p:spTgt spid="61"/>
                                        </p:tgtEl>
                                      </p:cBhvr>
                                    </p:animEffect>
                                  </p:childTnLst>
                                </p:cTn>
                              </p:par>
                            </p:childTnLst>
                          </p:cTn>
                        </p:par>
                      </p:childTnLst>
                    </p:cTn>
                  </p:par>
                  <p:par>
                    <p:cTn id="105" fill="hold">
                      <p:stCondLst>
                        <p:cond delay="indefinite"/>
                      </p:stCondLst>
                      <p:childTnLst>
                        <p:par>
                          <p:cTn id="106" fill="hold">
                            <p:stCondLst>
                              <p:cond delay="0"/>
                            </p:stCondLst>
                            <p:childTnLst>
                              <p:par>
                                <p:cTn id="107" presetID="22" presetClass="entr" presetSubtype="4" fill="hold" grpId="0" nodeType="clickEffect">
                                  <p:stCondLst>
                                    <p:cond delay="0"/>
                                  </p:stCondLst>
                                  <p:childTnLst>
                                    <p:set>
                                      <p:cBhvr>
                                        <p:cTn id="108" dur="1" fill="hold">
                                          <p:stCondLst>
                                            <p:cond delay="0"/>
                                          </p:stCondLst>
                                        </p:cTn>
                                        <p:tgtEl>
                                          <p:spTgt spid="60"/>
                                        </p:tgtEl>
                                        <p:attrNameLst>
                                          <p:attrName>style.visibility</p:attrName>
                                        </p:attrNameLst>
                                      </p:cBhvr>
                                      <p:to>
                                        <p:strVal val="visible"/>
                                      </p:to>
                                    </p:set>
                                    <p:animEffect transition="in" filter="wipe(down)">
                                      <p:cBhvr>
                                        <p:cTn id="109"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ldLvl="0" animBg="1"/>
      <p:bldP spid="29" grpId="0" bldLvl="0" animBg="1"/>
      <p:bldP spid="30" grpId="0" bldLvl="0" animBg="1"/>
      <p:bldP spid="31" grpId="0" bldLvl="0" animBg="1"/>
      <p:bldP spid="47" grpId="0" bldLvl="0" animBg="1"/>
      <p:bldP spid="48" grpId="0" bldLvl="0" animBg="1"/>
      <p:bldP spid="49" grpId="0" bldLvl="0" animBg="1"/>
      <p:bldP spid="50" grpId="0" bldLvl="0" animBg="1"/>
      <p:bldP spid="51" grpId="0" bldLvl="0" animBg="1"/>
      <p:bldP spid="52" grpId="0"/>
      <p:bldP spid="53" grpId="0"/>
      <p:bldP spid="54" grpId="0"/>
      <p:bldP spid="55" grpId="0"/>
      <p:bldP spid="56" grpId="0"/>
      <p:bldP spid="57" grpId="0"/>
      <p:bldP spid="58" grpId="0"/>
      <p:bldP spid="59" grpId="0"/>
      <p:bldP spid="60" grpId="0"/>
      <p:bldP spid="6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直接连接符 5"/>
          <p:cNvCxnSpPr/>
          <p:nvPr/>
        </p:nvCxnSpPr>
        <p:spPr>
          <a:xfrm>
            <a:off x="4746649" y="1662425"/>
            <a:ext cx="0" cy="38729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文本框 8"/>
          <p:cNvSpPr txBox="1"/>
          <p:nvPr/>
        </p:nvSpPr>
        <p:spPr>
          <a:xfrm>
            <a:off x="1812924" y="1012350"/>
            <a:ext cx="1521460" cy="495935"/>
          </a:xfrm>
          <a:prstGeom prst="rect">
            <a:avLst/>
          </a:prstGeom>
          <a:noFill/>
        </p:spPr>
        <p:txBody>
          <a:bodyPr wrap="none" rtlCol="0">
            <a:spAutoFit/>
          </a:bodyPr>
          <a:lstStyle/>
          <a:p>
            <a:r>
              <a:rPr lang="zh-CN" altLang="en-US" sz="2630" b="1" dirty="0">
                <a:solidFill>
                  <a:schemeClr val="bg1">
                    <a:lumMod val="50000"/>
                  </a:schemeClr>
                </a:solidFill>
                <a:latin typeface="思源黑体 CN Regular" panose="020B0500000000000000" charset="-122"/>
                <a:ea typeface="思源黑体 CN Regular" panose="020B0500000000000000" charset="-122"/>
                <a:sym typeface="Source Han Sans HW SC" panose="020F0502020204030204"/>
              </a:rPr>
              <a:t>我是标题</a:t>
            </a:r>
          </a:p>
        </p:txBody>
      </p:sp>
      <p:sp>
        <p:nvSpPr>
          <p:cNvPr id="9" name="圆角矩形 8"/>
          <p:cNvSpPr/>
          <p:nvPr/>
        </p:nvSpPr>
        <p:spPr>
          <a:xfrm>
            <a:off x="1923657" y="2861218"/>
            <a:ext cx="1319044" cy="26248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altLang="en-US" sz="1840" dirty="0">
                <a:solidFill>
                  <a:schemeClr val="bg1"/>
                </a:solidFill>
                <a:latin typeface="思源黑体 CN Regular" panose="020B0500000000000000" charset="-122"/>
                <a:ea typeface="思源黑体 CN Regular" panose="020B0500000000000000" charset="-122"/>
                <a:sym typeface="Source Han Sans HW SC" panose="020F0502020204030204"/>
              </a:rPr>
              <a:t>标题</a:t>
            </a:r>
            <a:r>
              <a:rPr lang="en-US" altLang="zh-CN" sz="1840" dirty="0">
                <a:solidFill>
                  <a:schemeClr val="bg1"/>
                </a:solidFill>
                <a:latin typeface="思源黑体 CN Regular" panose="020B0500000000000000" charset="-122"/>
                <a:ea typeface="思源黑体 CN Regular" panose="020B0500000000000000" charset="-122"/>
                <a:sym typeface="Source Han Sans HW SC" panose="020F0502020204030204"/>
              </a:rPr>
              <a:t>1</a:t>
            </a:r>
          </a:p>
        </p:txBody>
      </p:sp>
      <p:sp>
        <p:nvSpPr>
          <p:cNvPr id="11" name="圆角矩形 10"/>
          <p:cNvSpPr/>
          <p:nvPr/>
        </p:nvSpPr>
        <p:spPr>
          <a:xfrm>
            <a:off x="1923657" y="4246658"/>
            <a:ext cx="1319044" cy="26248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zh-CN" altLang="en-US" sz="1840">
                <a:solidFill>
                  <a:schemeClr val="bg1"/>
                </a:solidFill>
                <a:latin typeface="思源黑体 CN Regular" panose="020B0500000000000000" charset="-122"/>
                <a:ea typeface="思源黑体 CN Regular" panose="020B0500000000000000" charset="-122"/>
                <a:sym typeface="Source Han Sans HW SC" panose="020F0502020204030204"/>
              </a:rPr>
              <a:t>标题</a:t>
            </a:r>
            <a:r>
              <a:rPr lang="en-US" altLang="zh-CN" sz="1840">
                <a:solidFill>
                  <a:schemeClr val="bg1"/>
                </a:solidFill>
                <a:latin typeface="思源黑体 CN Regular" panose="020B0500000000000000" charset="-122"/>
                <a:ea typeface="思源黑体 CN Regular" panose="020B0500000000000000" charset="-122"/>
                <a:sym typeface="Source Han Sans HW SC" panose="020F0502020204030204"/>
              </a:rPr>
              <a:t>2</a:t>
            </a:r>
          </a:p>
        </p:txBody>
      </p:sp>
      <p:graphicFrame>
        <p:nvGraphicFramePr>
          <p:cNvPr id="12" name="图表 11"/>
          <p:cNvGraphicFramePr/>
          <p:nvPr/>
        </p:nvGraphicFramePr>
        <p:xfrm>
          <a:off x="5587951" y="1444723"/>
          <a:ext cx="5509303" cy="4197302"/>
        </p:xfrm>
        <a:graphic>
          <a:graphicData uri="http://schemas.openxmlformats.org/drawingml/2006/chart">
            <c:chart xmlns:c="http://schemas.openxmlformats.org/drawingml/2006/chart" xmlns:r="http://schemas.openxmlformats.org/officeDocument/2006/relationships" r:id="rId3"/>
          </a:graphicData>
        </a:graphic>
      </p:graphicFrame>
      <p:sp>
        <p:nvSpPr>
          <p:cNvPr id="13" name="Shopping Cart"/>
          <p:cNvSpPr>
            <a:spLocks noEditPoints="1"/>
          </p:cNvSpPr>
          <p:nvPr/>
        </p:nvSpPr>
        <p:spPr bwMode="auto">
          <a:xfrm>
            <a:off x="8731091" y="3750159"/>
            <a:ext cx="350196" cy="295656"/>
          </a:xfrm>
          <a:custGeom>
            <a:avLst/>
            <a:gdLst>
              <a:gd name="T0" fmla="*/ 28 w 397"/>
              <a:gd name="T1" fmla="*/ 0 h 392"/>
              <a:gd name="T2" fmla="*/ 0 w 397"/>
              <a:gd name="T3" fmla="*/ 27 h 392"/>
              <a:gd name="T4" fmla="*/ 28 w 397"/>
              <a:gd name="T5" fmla="*/ 55 h 392"/>
              <a:gd name="T6" fmla="*/ 42 w 397"/>
              <a:gd name="T7" fmla="*/ 51 h 392"/>
              <a:gd name="T8" fmla="*/ 64 w 397"/>
              <a:gd name="T9" fmla="*/ 66 h 392"/>
              <a:gd name="T10" fmla="*/ 65 w 397"/>
              <a:gd name="T11" fmla="*/ 69 h 392"/>
              <a:gd name="T12" fmla="*/ 113 w 397"/>
              <a:gd name="T13" fmla="*/ 264 h 392"/>
              <a:gd name="T14" fmla="*/ 132 w 397"/>
              <a:gd name="T15" fmla="*/ 272 h 392"/>
              <a:gd name="T16" fmla="*/ 121 w 397"/>
              <a:gd name="T17" fmla="*/ 305 h 392"/>
              <a:gd name="T18" fmla="*/ 71 w 397"/>
              <a:gd name="T19" fmla="*/ 349 h 392"/>
              <a:gd name="T20" fmla="*/ 114 w 397"/>
              <a:gd name="T21" fmla="*/ 392 h 392"/>
              <a:gd name="T22" fmla="*/ 158 w 397"/>
              <a:gd name="T23" fmla="*/ 356 h 392"/>
              <a:gd name="T24" fmla="*/ 284 w 397"/>
              <a:gd name="T25" fmla="*/ 358 h 392"/>
              <a:gd name="T26" fmla="*/ 324 w 397"/>
              <a:gd name="T27" fmla="*/ 392 h 392"/>
              <a:gd name="T28" fmla="*/ 366 w 397"/>
              <a:gd name="T29" fmla="*/ 351 h 392"/>
              <a:gd name="T30" fmla="*/ 324 w 397"/>
              <a:gd name="T31" fmla="*/ 309 h 392"/>
              <a:gd name="T32" fmla="*/ 285 w 397"/>
              <a:gd name="T33" fmla="*/ 340 h 392"/>
              <a:gd name="T34" fmla="*/ 157 w 397"/>
              <a:gd name="T35" fmla="*/ 339 h 392"/>
              <a:gd name="T36" fmla="*/ 137 w 397"/>
              <a:gd name="T37" fmla="*/ 311 h 392"/>
              <a:gd name="T38" fmla="*/ 151 w 397"/>
              <a:gd name="T39" fmla="*/ 272 h 392"/>
              <a:gd name="T40" fmla="*/ 356 w 397"/>
              <a:gd name="T41" fmla="*/ 263 h 392"/>
              <a:gd name="T42" fmla="*/ 367 w 397"/>
              <a:gd name="T43" fmla="*/ 253 h 392"/>
              <a:gd name="T44" fmla="*/ 395 w 397"/>
              <a:gd name="T45" fmla="*/ 110 h 392"/>
              <a:gd name="T46" fmla="*/ 385 w 397"/>
              <a:gd name="T47" fmla="*/ 95 h 392"/>
              <a:gd name="T48" fmla="*/ 78 w 397"/>
              <a:gd name="T49" fmla="*/ 54 h 392"/>
              <a:gd name="T50" fmla="*/ 54 w 397"/>
              <a:gd name="T51" fmla="*/ 37 h 392"/>
              <a:gd name="T52" fmla="*/ 56 w 397"/>
              <a:gd name="T53" fmla="*/ 27 h 392"/>
              <a:gd name="T54" fmla="*/ 28 w 397"/>
              <a:gd name="T55" fmla="*/ 0 h 392"/>
              <a:gd name="T56" fmla="*/ 28 w 397"/>
              <a:gd name="T57" fmla="*/ 18 h 392"/>
              <a:gd name="T58" fmla="*/ 37 w 397"/>
              <a:gd name="T59" fmla="*/ 27 h 392"/>
              <a:gd name="T60" fmla="*/ 28 w 397"/>
              <a:gd name="T61" fmla="*/ 37 h 392"/>
              <a:gd name="T62" fmla="*/ 18 w 397"/>
              <a:gd name="T63" fmla="*/ 27 h 392"/>
              <a:gd name="T64" fmla="*/ 28 w 397"/>
              <a:gd name="T65" fmla="*/ 18 h 392"/>
              <a:gd name="T66" fmla="*/ 93 w 397"/>
              <a:gd name="T67" fmla="*/ 81 h 392"/>
              <a:gd name="T68" fmla="*/ 369 w 397"/>
              <a:gd name="T69" fmla="*/ 118 h 392"/>
              <a:gd name="T70" fmla="*/ 345 w 397"/>
              <a:gd name="T71" fmla="*/ 239 h 392"/>
              <a:gd name="T72" fmla="*/ 134 w 397"/>
              <a:gd name="T73" fmla="*/ 248 h 392"/>
              <a:gd name="T74" fmla="*/ 93 w 397"/>
              <a:gd name="T75" fmla="*/ 81 h 392"/>
              <a:gd name="T76" fmla="*/ 114 w 397"/>
              <a:gd name="T77" fmla="*/ 322 h 392"/>
              <a:gd name="T78" fmla="*/ 140 w 397"/>
              <a:gd name="T79" fmla="*/ 349 h 392"/>
              <a:gd name="T80" fmla="*/ 114 w 397"/>
              <a:gd name="T81" fmla="*/ 374 h 392"/>
              <a:gd name="T82" fmla="*/ 88 w 397"/>
              <a:gd name="T83" fmla="*/ 349 h 392"/>
              <a:gd name="T84" fmla="*/ 114 w 397"/>
              <a:gd name="T85" fmla="*/ 322 h 392"/>
              <a:gd name="T86" fmla="*/ 324 w 397"/>
              <a:gd name="T87" fmla="*/ 327 h 392"/>
              <a:gd name="T88" fmla="*/ 348 w 397"/>
              <a:gd name="T89" fmla="*/ 351 h 392"/>
              <a:gd name="T90" fmla="*/ 324 w 397"/>
              <a:gd name="T91" fmla="*/ 374 h 392"/>
              <a:gd name="T92" fmla="*/ 302 w 397"/>
              <a:gd name="T93" fmla="*/ 351 h 392"/>
              <a:gd name="T94" fmla="*/ 324 w 397"/>
              <a:gd name="T95" fmla="*/ 32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7" h="392">
                <a:moveTo>
                  <a:pt x="28" y="0"/>
                </a:moveTo>
                <a:cubicBezTo>
                  <a:pt x="13" y="0"/>
                  <a:pt x="0" y="12"/>
                  <a:pt x="0" y="27"/>
                </a:cubicBezTo>
                <a:cubicBezTo>
                  <a:pt x="0" y="42"/>
                  <a:pt x="13" y="55"/>
                  <a:pt x="28" y="55"/>
                </a:cubicBezTo>
                <a:cubicBezTo>
                  <a:pt x="33" y="55"/>
                  <a:pt x="38" y="53"/>
                  <a:pt x="42" y="51"/>
                </a:cubicBezTo>
                <a:lnTo>
                  <a:pt x="64" y="66"/>
                </a:lnTo>
                <a:cubicBezTo>
                  <a:pt x="64" y="67"/>
                  <a:pt x="64" y="68"/>
                  <a:pt x="65" y="69"/>
                </a:cubicBezTo>
                <a:lnTo>
                  <a:pt x="113" y="264"/>
                </a:lnTo>
                <a:cubicBezTo>
                  <a:pt x="116" y="272"/>
                  <a:pt x="120" y="273"/>
                  <a:pt x="132" y="272"/>
                </a:cubicBezTo>
                <a:lnTo>
                  <a:pt x="121" y="305"/>
                </a:lnTo>
                <a:cubicBezTo>
                  <a:pt x="85" y="301"/>
                  <a:pt x="71" y="331"/>
                  <a:pt x="71" y="349"/>
                </a:cubicBezTo>
                <a:cubicBezTo>
                  <a:pt x="71" y="373"/>
                  <a:pt x="90" y="392"/>
                  <a:pt x="114" y="392"/>
                </a:cubicBezTo>
                <a:cubicBezTo>
                  <a:pt x="135" y="392"/>
                  <a:pt x="154" y="377"/>
                  <a:pt x="158" y="356"/>
                </a:cubicBezTo>
                <a:lnTo>
                  <a:pt x="284" y="358"/>
                </a:lnTo>
                <a:cubicBezTo>
                  <a:pt x="288" y="377"/>
                  <a:pt x="304" y="392"/>
                  <a:pt x="324" y="392"/>
                </a:cubicBezTo>
                <a:cubicBezTo>
                  <a:pt x="347" y="392"/>
                  <a:pt x="366" y="374"/>
                  <a:pt x="366" y="351"/>
                </a:cubicBezTo>
                <a:cubicBezTo>
                  <a:pt x="366" y="328"/>
                  <a:pt x="347" y="309"/>
                  <a:pt x="324" y="309"/>
                </a:cubicBezTo>
                <a:cubicBezTo>
                  <a:pt x="305" y="309"/>
                  <a:pt x="290" y="323"/>
                  <a:pt x="285" y="340"/>
                </a:cubicBezTo>
                <a:lnTo>
                  <a:pt x="157" y="339"/>
                </a:lnTo>
                <a:cubicBezTo>
                  <a:pt x="154" y="327"/>
                  <a:pt x="147" y="318"/>
                  <a:pt x="137" y="311"/>
                </a:cubicBezTo>
                <a:lnTo>
                  <a:pt x="151" y="272"/>
                </a:lnTo>
                <a:lnTo>
                  <a:pt x="356" y="263"/>
                </a:lnTo>
                <a:cubicBezTo>
                  <a:pt x="362" y="263"/>
                  <a:pt x="366" y="259"/>
                  <a:pt x="367" y="253"/>
                </a:cubicBezTo>
                <a:lnTo>
                  <a:pt x="395" y="110"/>
                </a:lnTo>
                <a:cubicBezTo>
                  <a:pt x="397" y="103"/>
                  <a:pt x="392" y="96"/>
                  <a:pt x="385" y="95"/>
                </a:cubicBezTo>
                <a:lnTo>
                  <a:pt x="78" y="54"/>
                </a:lnTo>
                <a:lnTo>
                  <a:pt x="54" y="37"/>
                </a:lnTo>
                <a:cubicBezTo>
                  <a:pt x="55" y="34"/>
                  <a:pt x="56" y="31"/>
                  <a:pt x="56" y="27"/>
                </a:cubicBezTo>
                <a:cubicBezTo>
                  <a:pt x="56" y="12"/>
                  <a:pt x="43" y="0"/>
                  <a:pt x="28" y="0"/>
                </a:cubicBezTo>
                <a:close/>
                <a:moveTo>
                  <a:pt x="28" y="18"/>
                </a:moveTo>
                <a:cubicBezTo>
                  <a:pt x="33" y="18"/>
                  <a:pt x="37" y="22"/>
                  <a:pt x="37" y="27"/>
                </a:cubicBezTo>
                <a:cubicBezTo>
                  <a:pt x="37" y="33"/>
                  <a:pt x="33" y="37"/>
                  <a:pt x="28" y="37"/>
                </a:cubicBezTo>
                <a:cubicBezTo>
                  <a:pt x="22" y="37"/>
                  <a:pt x="18" y="33"/>
                  <a:pt x="18" y="27"/>
                </a:cubicBezTo>
                <a:cubicBezTo>
                  <a:pt x="18" y="22"/>
                  <a:pt x="22" y="18"/>
                  <a:pt x="28" y="18"/>
                </a:cubicBezTo>
                <a:close/>
                <a:moveTo>
                  <a:pt x="93" y="81"/>
                </a:moveTo>
                <a:lnTo>
                  <a:pt x="369" y="118"/>
                </a:lnTo>
                <a:lnTo>
                  <a:pt x="345" y="239"/>
                </a:lnTo>
                <a:lnTo>
                  <a:pt x="134" y="248"/>
                </a:lnTo>
                <a:lnTo>
                  <a:pt x="93" y="81"/>
                </a:lnTo>
                <a:close/>
                <a:moveTo>
                  <a:pt x="114" y="322"/>
                </a:moveTo>
                <a:cubicBezTo>
                  <a:pt x="128" y="322"/>
                  <a:pt x="140" y="335"/>
                  <a:pt x="140" y="349"/>
                </a:cubicBezTo>
                <a:cubicBezTo>
                  <a:pt x="140" y="363"/>
                  <a:pt x="128" y="374"/>
                  <a:pt x="114" y="374"/>
                </a:cubicBezTo>
                <a:cubicBezTo>
                  <a:pt x="99" y="374"/>
                  <a:pt x="88" y="363"/>
                  <a:pt x="88" y="349"/>
                </a:cubicBezTo>
                <a:cubicBezTo>
                  <a:pt x="88" y="335"/>
                  <a:pt x="99" y="322"/>
                  <a:pt x="114" y="322"/>
                </a:cubicBezTo>
                <a:close/>
                <a:moveTo>
                  <a:pt x="324" y="327"/>
                </a:moveTo>
                <a:cubicBezTo>
                  <a:pt x="338" y="327"/>
                  <a:pt x="348" y="338"/>
                  <a:pt x="348" y="351"/>
                </a:cubicBezTo>
                <a:cubicBezTo>
                  <a:pt x="348" y="364"/>
                  <a:pt x="338" y="374"/>
                  <a:pt x="324" y="374"/>
                </a:cubicBezTo>
                <a:cubicBezTo>
                  <a:pt x="311" y="374"/>
                  <a:pt x="302" y="364"/>
                  <a:pt x="302" y="351"/>
                </a:cubicBezTo>
                <a:cubicBezTo>
                  <a:pt x="302" y="338"/>
                  <a:pt x="311" y="327"/>
                  <a:pt x="324" y="327"/>
                </a:cubicBezTo>
                <a:close/>
              </a:path>
            </a:pathLst>
          </a:custGeom>
          <a:solidFill>
            <a:schemeClr val="bg1"/>
          </a:solidFill>
          <a:ln w="0">
            <a:noFill/>
            <a:prstDash val="solid"/>
            <a:round/>
          </a:ln>
        </p:spPr>
        <p:txBody>
          <a:bodyPr vert="horz" wrap="square" lIns="120140" tIns="60070" rIns="120140" bIns="6007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15" dirty="0">
              <a:solidFill>
                <a:schemeClr val="bg1">
                  <a:lumMod val="50000"/>
                </a:schemeClr>
              </a:solidFill>
              <a:latin typeface="Source Han Sans HW SC" panose="020F0502020204030204"/>
              <a:ea typeface="庞门正道标题体" panose="02010600030101010101" pitchFamily="2" charset="-122"/>
              <a:cs typeface="Calibri" panose="020F0502020204030204" charset="0"/>
              <a:sym typeface="Source Han Sans HW SC" panose="020F0502020204030204"/>
            </a:endParaRPr>
          </a:p>
        </p:txBody>
      </p:sp>
      <p:sp>
        <p:nvSpPr>
          <p:cNvPr id="14" name="文本框 16"/>
          <p:cNvSpPr txBox="1"/>
          <p:nvPr/>
        </p:nvSpPr>
        <p:spPr>
          <a:xfrm>
            <a:off x="8644003" y="4209531"/>
            <a:ext cx="1430251" cy="495935"/>
          </a:xfrm>
          <a:prstGeom prst="rect">
            <a:avLst/>
          </a:prstGeom>
          <a:noFill/>
        </p:spPr>
        <p:txBody>
          <a:bodyPr wrap="square" rtlCol="0">
            <a:spAutoFit/>
          </a:bodyPr>
          <a:lstStyle/>
          <a:p>
            <a:r>
              <a:rPr lang="en-US" altLang="zh-CN" sz="2630" b="1" dirty="0">
                <a:solidFill>
                  <a:schemeClr val="bg1"/>
                </a:solidFill>
                <a:latin typeface="思源黑体 CN Regular" panose="020B0500000000000000" charset="-122"/>
                <a:ea typeface="思源黑体 CN Regular" panose="020B0500000000000000" charset="-122"/>
                <a:sym typeface="Source Han Sans HW SC" panose="020F0502020204030204"/>
              </a:rPr>
              <a:t>88%</a:t>
            </a:r>
          </a:p>
        </p:txBody>
      </p:sp>
      <p:cxnSp>
        <p:nvCxnSpPr>
          <p:cNvPr id="15" name="直接连接符 14"/>
          <p:cNvCxnSpPr/>
          <p:nvPr/>
        </p:nvCxnSpPr>
        <p:spPr>
          <a:xfrm>
            <a:off x="8731091" y="3602421"/>
            <a:ext cx="1780447"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6" name="文本框 15"/>
          <p:cNvSpPr txBox="1"/>
          <p:nvPr/>
        </p:nvSpPr>
        <p:spPr>
          <a:xfrm>
            <a:off x="1293063" y="3303055"/>
            <a:ext cx="2580233" cy="574675"/>
          </a:xfrm>
          <a:prstGeom prst="rect">
            <a:avLst/>
          </a:prstGeom>
          <a:noFill/>
        </p:spPr>
        <p:txBody>
          <a:bodyPr wrap="square" rtlCol="0">
            <a:spAutoFit/>
          </a:bodyPr>
          <a:lstStyle/>
          <a:p>
            <a:pPr marL="0" marR="0" lvl="0" indent="0" algn="ctr"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lang="en-US" altLang="zh-CN" sz="1315" dirty="0">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17" name="文本框 16"/>
          <p:cNvSpPr txBox="1"/>
          <p:nvPr/>
        </p:nvSpPr>
        <p:spPr>
          <a:xfrm>
            <a:off x="1293063" y="4743219"/>
            <a:ext cx="2580233" cy="574675"/>
          </a:xfrm>
          <a:prstGeom prst="rect">
            <a:avLst/>
          </a:prstGeom>
          <a:noFill/>
        </p:spPr>
        <p:txBody>
          <a:bodyPr wrap="square" rtlCol="0">
            <a:spAutoFit/>
          </a:bodyPr>
          <a:lstStyle/>
          <a:p>
            <a:pPr marL="0" marR="0" lvl="0" indent="0" algn="ctr"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a:t>
            </a:r>
            <a:endParaRPr lang="en-US" altLang="zh-CN" sz="1315" dirty="0">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endParaRPr>
          </a:p>
        </p:txBody>
      </p:sp>
      <p:sp>
        <p:nvSpPr>
          <p:cNvPr id="18" name="TextBox 22"/>
          <p:cNvSpPr txBox="1"/>
          <p:nvPr/>
        </p:nvSpPr>
        <p:spPr>
          <a:xfrm>
            <a:off x="610818" y="1677593"/>
            <a:ext cx="3925673" cy="816610"/>
          </a:xfrm>
          <a:prstGeom prst="rect">
            <a:avLst/>
          </a:prstGeom>
          <a:noFill/>
        </p:spPr>
        <p:txBody>
          <a:bodyPr wrap="square" rtlCol="0">
            <a:spAutoFit/>
          </a:bodyPr>
          <a:lstStyle/>
          <a:p>
            <a:pPr marL="0" marR="0" lvl="0" indent="0" algn="ctr" defTabSz="913765" rtl="0" eaLnBrk="1" fontAlgn="auto" latinLnBrk="0" hangingPunct="1">
              <a:lnSpc>
                <a:spcPct val="120000"/>
              </a:lnSpc>
              <a:spcBef>
                <a:spcPct val="0"/>
              </a:spcBef>
              <a:spcAft>
                <a:spcPts val="0"/>
              </a:spcAft>
              <a:buClrTx/>
              <a:buSzTx/>
              <a:buFontTx/>
              <a:buNone/>
              <a:defRPr/>
            </a:pPr>
            <a:r>
              <a:rPr lang="zh-CN" altLang="en-US" sz="1310" dirty="0">
                <a:solidFill>
                  <a:schemeClr val="bg2">
                    <a:lumMod val="25000"/>
                  </a:schemeClr>
                </a:solidFill>
                <a:latin typeface="思源黑体 CN Regular" panose="020B0500000000000000" charset="-122"/>
                <a:ea typeface="思源黑体 CN Regular" panose="020B0500000000000000" charset="-122"/>
                <a:cs typeface="思源黑体 CN Regular" panose="020B0500000000000000" charset="-122"/>
                <a:sym typeface="Source Han Sans HW SC" panose="020F0502020204030204"/>
              </a:rPr>
              <a:t>输入替换内容输入替换内容输入替换内容输入替换内容输入替换内容输入替换内容输入替换内容输入替换内容</a:t>
            </a:r>
            <a:endParaRPr lang="en-US" sz="1315" dirty="0">
              <a:latin typeface="思源黑体 CN Regular" panose="020B0500000000000000" charset="-122"/>
              <a:ea typeface="思源黑体 CN Regular" panose="020B0500000000000000" charset="-122"/>
              <a:cs typeface="Lato Light" charset="0"/>
              <a:sym typeface="Source Han Sans HW SC" panose="020F0502020204030204"/>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2000">
        <p:blinds dir="vert"/>
      </p:transition>
    </mc:Choice>
    <mc:Fallback xmlns="">
      <p:transition spd="slow" advClick="0" advTm="2000">
        <p:blinds dir="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down)">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187308"/>
</p:tagLst>
</file>

<file path=ppt/tags/tag1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187308"/>
</p:tagLst>
</file>

<file path=ppt/tags/tag2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3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TEMPLATE_SUBCATEGORY" val="0"/>
  <p:tag name="KSO_WM_TAG_VERSION" val="1.0"/>
  <p:tag name="KSO_WM_BEAUTIFY_FLAG" val="#wm#"/>
  <p:tag name="KSO_WM_TEMPLATE_CATEGORY" val="custom"/>
  <p:tag name="KSO_WM_TEMPLATE_INDEX" val="20187308"/>
</p:tagLst>
</file>

<file path=ppt/tags/tag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2.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63.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64.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65.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66.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70.xml><?xml version="1.0" encoding="utf-8"?>
<p:tagLst xmlns:a="http://schemas.openxmlformats.org/drawingml/2006/main" xmlns:r="http://schemas.openxmlformats.org/officeDocument/2006/relationships" xmlns:p="http://schemas.openxmlformats.org/presentationml/2006/main">
  <p:tag name="PA" val="v4.0.0"/>
</p:tagLst>
</file>

<file path=ppt/tags/tag71.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72.xml><?xml version="1.0" encoding="utf-8"?>
<p:tagLst xmlns:a="http://schemas.openxmlformats.org/drawingml/2006/main" xmlns:r="http://schemas.openxmlformats.org/officeDocument/2006/relationships" xmlns:p="http://schemas.openxmlformats.org/presentationml/2006/main">
  <p:tag name="KSO_WM_TEMPLATE_THUMBS_INDEX" val="1、2、3、6、8、10、11、12、15"/>
  <p:tag name="KSO_WM_SLIDE_ID" val="custom20187308_1"/>
  <p:tag name="KSO_WM_TEMPLATE_SUBCATEGORY" val="0"/>
  <p:tag name="KSO_WM_SLIDE_TYPE" val="title"/>
  <p:tag name="KSO_WM_SLIDE_SUBTYPE" val="pureTxt"/>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 name="KSO_WM_SLIDE_MODEL_TYPE" val="cover"/>
</p:tagLst>
</file>

<file path=ppt/tags/tag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heme/theme1.xml><?xml version="1.0" encoding="utf-8"?>
<a:theme xmlns:a="http://schemas.openxmlformats.org/drawingml/2006/main" name="办公资源：www.bangongziyuan.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27</Words>
  <Application>Microsoft Office PowerPoint</Application>
  <PresentationFormat>宽屏</PresentationFormat>
  <Paragraphs>152</Paragraphs>
  <Slides>16</Slides>
  <Notes>16</Notes>
  <HiddenSlides>0</HiddenSlides>
  <MMClips>0</MMClips>
  <ScaleCrop>false</ScaleCrop>
  <HeadingPairs>
    <vt:vector size="6" baseType="variant">
      <vt:variant>
        <vt:lpstr>已用的字体</vt:lpstr>
      </vt:variant>
      <vt:variant>
        <vt:i4>6</vt:i4>
      </vt:variant>
      <vt:variant>
        <vt:lpstr>主题</vt:lpstr>
      </vt:variant>
      <vt:variant>
        <vt:i4>1</vt:i4>
      </vt:variant>
      <vt:variant>
        <vt:lpstr>幻灯片标题</vt:lpstr>
      </vt:variant>
      <vt:variant>
        <vt:i4>16</vt:i4>
      </vt:variant>
    </vt:vector>
  </HeadingPairs>
  <TitlesOfParts>
    <vt:vector size="23" baseType="lpstr">
      <vt:lpstr>Source Han Sans HW SC</vt:lpstr>
      <vt:lpstr>锐字真言体免费商用</vt:lpstr>
      <vt:lpstr>思源黑体 CN Regular</vt:lpstr>
      <vt:lpstr>微软雅黑</vt:lpstr>
      <vt:lpstr>Arial</vt:lpstr>
      <vt:lpstr>Wingdings</vt:lpstr>
      <vt:lpstr>办公资源：www.bangongziyuan.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办公资源网</Manager>
  <Company>办公资源网:www.bangongziyuan.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卡通教育培训教学课件PPT模板</dc:title>
  <dc:subject>教育培训PPT模板</dc:subject>
  <dc:creator>办公资源网</dc:creator>
  <cp:keywords>办公资源网:www.bangongziyuan.com</cp:keywords>
  <dc:description>办公资源网:www.bangongziyuan.com;</dc:description>
  <cp:lastModifiedBy>天 下</cp:lastModifiedBy>
  <cp:revision>15</cp:revision>
  <dcterms:created xsi:type="dcterms:W3CDTF">2019-06-14T07:12:00Z</dcterms:created>
  <dcterms:modified xsi:type="dcterms:W3CDTF">2021-01-05T12:09:53Z</dcterms:modified>
  <cp:category>PPT模板</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740</vt:lpwstr>
  </property>
</Properties>
</file>